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722" r:id="rId5"/>
    <p:sldMasterId id="2147483730" r:id="rId6"/>
  </p:sldMasterIdLst>
  <p:notesMasterIdLst>
    <p:notesMasterId r:id="rId26"/>
  </p:notesMasterIdLst>
  <p:handoutMasterIdLst>
    <p:handoutMasterId r:id="rId27"/>
  </p:handoutMasterIdLst>
  <p:sldIdLst>
    <p:sldId id="404" r:id="rId7"/>
    <p:sldId id="297" r:id="rId8"/>
    <p:sldId id="357" r:id="rId9"/>
    <p:sldId id="2147472167" r:id="rId10"/>
    <p:sldId id="2147472168" r:id="rId11"/>
    <p:sldId id="287" r:id="rId12"/>
    <p:sldId id="2147472160" r:id="rId13"/>
    <p:sldId id="256" r:id="rId14"/>
    <p:sldId id="2147472130" r:id="rId15"/>
    <p:sldId id="2147472157" r:id="rId16"/>
    <p:sldId id="423" r:id="rId17"/>
    <p:sldId id="454" r:id="rId18"/>
    <p:sldId id="3882" r:id="rId19"/>
    <p:sldId id="265" r:id="rId20"/>
    <p:sldId id="3872" r:id="rId21"/>
    <p:sldId id="2147472024" r:id="rId22"/>
    <p:sldId id="2147472159" r:id="rId23"/>
    <p:sldId id="370" r:id="rId24"/>
    <p:sldId id="2147472169" r:id="rId25"/>
  </p:sldIdLst>
  <p:sldSz cx="12192000" cy="6858000"/>
  <p:notesSz cx="7315200" cy="9601200"/>
  <p:embeddedFontLst>
    <p:embeddedFont>
      <p:font typeface="Calibri" panose="020F0502020204030204" pitchFamily="34" charset="0"/>
      <p:regular r:id="rId28"/>
      <p:bold r:id="rId29"/>
      <p:italic r:id="rId30"/>
      <p:boldItalic r:id="rId31"/>
    </p:embeddedFont>
    <p:embeddedFont>
      <p:font typeface="Chivo" panose="020B0604020202020204" charset="0"/>
      <p:regular r:id="rId32"/>
      <p:bold r:id="rId33"/>
      <p:italic r:id="rId34"/>
      <p:boldItalic r:id="rId35"/>
    </p:embeddedFont>
    <p:embeddedFont>
      <p:font typeface="Franklin Gothic Medium" panose="020B0603020102020204" pitchFamily="34" charset="0"/>
      <p:regular r:id="rId36"/>
      <p:italic r:id="rId37"/>
    </p:embeddedFont>
    <p:embeddedFont>
      <p:font typeface="Lexend" panose="020B0604020202020204" charset="0"/>
      <p:regular r:id="rId38"/>
      <p:bold r:id="rId39"/>
    </p:embeddedFont>
    <p:embeddedFont>
      <p:font typeface="Lexend BD" panose="020B0604020202020204" charset="0"/>
      <p:regular r:id="rId40"/>
      <p:bold r:id="rId41"/>
      <p:italic r:id="rId42"/>
      <p:boldItalic r:id="rId43"/>
    </p:embeddedFont>
    <p:embeddedFont>
      <p:font typeface="Lexend Exa HM" charset="0"/>
      <p:bold r:id="rId44"/>
    </p:embeddedFont>
    <p:embeddedFont>
      <p:font typeface="Lexend Exa HM ExtraLight" panose="020B0604020202020204" charset="0"/>
      <p:regular r:id="rId45"/>
    </p:embeddedFont>
    <p:embeddedFont>
      <p:font typeface="Lexend Light" panose="020B0604020202020204" charset="0"/>
      <p:regular r:id="rId46"/>
    </p:embeddedFont>
    <p:embeddedFont>
      <p:font typeface="Roboto Slab" pitchFamily="2" charset="0"/>
      <p:regular r:id="rId47"/>
      <p:bold r:id="rId48"/>
    </p:embeddedFont>
  </p:embeddedFontLst>
  <p:custDataLst>
    <p:tags r:id="rId49"/>
  </p:custDataLst>
  <p:defaultTextStyle>
    <a:defPPr>
      <a:defRPr lang="de-DE"/>
    </a:defPPr>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3B529D-D1C4-4DE8-946F-25FB909A456F}">
          <p14:sldIdLst/>
        </p14:section>
        <p14:section name="Title" id="{23789E46-0EC9-44E7-8FB3-F5882AB50F23}">
          <p14:sldIdLst>
            <p14:sldId id="404"/>
            <p14:sldId id="297"/>
            <p14:sldId id="357"/>
            <p14:sldId id="2147472167"/>
            <p14:sldId id="2147472168"/>
          </p14:sldIdLst>
        </p14:section>
        <p14:section name="Agenda" id="{0418069C-783E-45B6-8490-3F77D4BC6C16}">
          <p14:sldIdLst>
            <p14:sldId id="287"/>
            <p14:sldId id="2147472160"/>
          </p14:sldIdLst>
        </p14:section>
        <p14:section name="Content" id="{A44C98EC-C4D9-4C6F-9C92-2E9927CCA183}">
          <p14:sldIdLst>
            <p14:sldId id="256"/>
            <p14:sldId id="2147472130"/>
            <p14:sldId id="2147472157"/>
            <p14:sldId id="423"/>
            <p14:sldId id="454"/>
            <p14:sldId id="3882"/>
            <p14:sldId id="265"/>
            <p14:sldId id="3872"/>
            <p14:sldId id="2147472024"/>
            <p14:sldId id="2147472159"/>
            <p14:sldId id="370"/>
            <p14:sldId id="2147472169"/>
          </p14:sldIdLst>
        </p14:section>
      </p14:sectionLst>
    </p:ext>
    <p:ext uri="{EFAFB233-063F-42B5-8137-9DF3F51BA10A}">
      <p15:sldGuideLst xmlns:p15="http://schemas.microsoft.com/office/powerpoint/2012/main">
        <p15:guide id="2" pos="3840" userDrawn="1">
          <p15:clr>
            <a:srgbClr val="A4A3A4"/>
          </p15:clr>
        </p15:guide>
        <p15:guide id="3" orient="horz" pos="2160">
          <p15:clr>
            <a:srgbClr val="A4A3A4"/>
          </p15:clr>
        </p15:guide>
        <p15:guide id="4" orient="horz" pos="845" userDrawn="1">
          <p15:clr>
            <a:srgbClr val="A4A3A4"/>
          </p15:clr>
        </p15:guide>
        <p15:guide id="5" orient="horz" pos="372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iaga, Ignacio I (Redmond) USA" initials="CII(U" lastIdx="1" clrIdx="0">
    <p:extLst>
      <p:ext uri="{19B8F6BF-5375-455C-9EA6-DF929625EA0E}">
        <p15:presenceInfo xmlns:p15="http://schemas.microsoft.com/office/powerpoint/2012/main" userId="S::Ignacio.Cariaga@lehighhanson.com::ad9a4b84-4218-47fc-9511-b6599ed1ec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48" autoAdjust="0"/>
    <p:restoredTop sz="88126" autoAdjust="0"/>
  </p:normalViewPr>
  <p:slideViewPr>
    <p:cSldViewPr snapToGrid="0" showGuides="1">
      <p:cViewPr varScale="1">
        <p:scale>
          <a:sx n="72" d="100"/>
          <a:sy n="72" d="100"/>
        </p:scale>
        <p:origin x="898" y="72"/>
      </p:cViewPr>
      <p:guideLst>
        <p:guide pos="3840"/>
        <p:guide orient="horz" pos="2160"/>
        <p:guide orient="horz" pos="845"/>
        <p:guide orient="horz" pos="3725"/>
      </p:guideLst>
    </p:cSldViewPr>
  </p:slideViewPr>
  <p:outlineViewPr>
    <p:cViewPr>
      <p:scale>
        <a:sx n="33" d="100"/>
        <a:sy n="33" d="100"/>
      </p:scale>
      <p:origin x="0" y="-5574"/>
    </p:cViewPr>
  </p:outlineViewPr>
  <p:notesTextViewPr>
    <p:cViewPr>
      <p:scale>
        <a:sx n="125" d="100"/>
        <a:sy n="125" d="100"/>
      </p:scale>
      <p:origin x="0" y="0"/>
    </p:cViewPr>
  </p:notesTextViewPr>
  <p:sorterViewPr>
    <p:cViewPr>
      <p:scale>
        <a:sx n="200" d="100"/>
        <a:sy n="200" d="100"/>
      </p:scale>
      <p:origin x="0" y="0"/>
    </p:cViewPr>
  </p:sorterViewPr>
  <p:notesViewPr>
    <p:cSldViewPr snapToGrid="0" showGuides="1">
      <p:cViewPr varScale="1">
        <p:scale>
          <a:sx n="84" d="100"/>
          <a:sy n="84" d="100"/>
        </p:scale>
        <p:origin x="330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font" Target="fonts/font20.fntdata"/><Relationship Id="rId50"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font" Target="fonts/font19.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2.fntdata"/><Relationship Id="rId41" Type="http://schemas.openxmlformats.org/officeDocument/2006/relationships/font" Target="fonts/font14.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font" Target="fonts/font18.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1.fntdata"/><Relationship Id="rId36" Type="http://schemas.openxmlformats.org/officeDocument/2006/relationships/font" Target="fonts/font9.fntdata"/><Relationship Id="rId49"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4.fntdata"/><Relationship Id="rId44" Type="http://schemas.openxmlformats.org/officeDocument/2006/relationships/font" Target="fonts/font17.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48" Type="http://schemas.openxmlformats.org/officeDocument/2006/relationships/font" Target="fonts/font21.fntdata"/><Relationship Id="rId8" Type="http://schemas.openxmlformats.org/officeDocument/2006/relationships/slide" Target="slides/slide2.xml"/><Relationship Id="rId5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3AA9303-CA49-919A-CC4F-3C261D094A91}"/>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de-DE"/>
          </a:p>
        </p:txBody>
      </p:sp>
      <p:sp>
        <p:nvSpPr>
          <p:cNvPr id="3" name="Datumsplatzhalter 2">
            <a:extLst>
              <a:ext uri="{FF2B5EF4-FFF2-40B4-BE49-F238E27FC236}">
                <a16:creationId xmlns:a16="http://schemas.microsoft.com/office/drawing/2014/main" id="{78524FD5-2620-D090-5C80-B8E1FF2B57B1}"/>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ADFE33D0-F72D-4196-AF0C-EE6F35BEED96}" type="datetimeFigureOut">
              <a:rPr lang="de-DE" smtClean="0"/>
              <a:t>21.05.2023</a:t>
            </a:fld>
            <a:endParaRPr lang="de-DE"/>
          </a:p>
        </p:txBody>
      </p:sp>
      <p:sp>
        <p:nvSpPr>
          <p:cNvPr id="4" name="Fußzeilenplatzhalter 3">
            <a:extLst>
              <a:ext uri="{FF2B5EF4-FFF2-40B4-BE49-F238E27FC236}">
                <a16:creationId xmlns:a16="http://schemas.microsoft.com/office/drawing/2014/main" id="{006055F7-D751-93E6-6C21-AE4FD8E35933}"/>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de-DE"/>
          </a:p>
        </p:txBody>
      </p:sp>
      <p:sp>
        <p:nvSpPr>
          <p:cNvPr id="5" name="Foliennummernplatzhalter 4">
            <a:extLst>
              <a:ext uri="{FF2B5EF4-FFF2-40B4-BE49-F238E27FC236}">
                <a16:creationId xmlns:a16="http://schemas.microsoft.com/office/drawing/2014/main" id="{45338DEB-D3C2-0F30-68F7-466B00EAC3FA}"/>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3DA784E8-ADF3-44C2-B4C7-0763CF4ED4E6}" type="slidenum">
              <a:rPr lang="de-DE" smtClean="0"/>
              <a:t>‹#›</a:t>
            </a:fld>
            <a:endParaRPr lang="de-DE"/>
          </a:p>
        </p:txBody>
      </p:sp>
    </p:spTree>
    <p:extLst>
      <p:ext uri="{BB962C8B-B14F-4D97-AF65-F5344CB8AC3E}">
        <p14:creationId xmlns:p14="http://schemas.microsoft.com/office/powerpoint/2010/main" val="18460975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024" userDrawn="1">
          <p15:clr>
            <a:srgbClr val="F26B43"/>
          </p15:clr>
        </p15:guide>
        <p15:guide id="2" pos="230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B50E0A5C-F169-4170-B03C-56EE8B568D10}" type="datetimeFigureOut">
              <a:rPr lang="de-DE" smtClean="0"/>
              <a:t>21.05.2023</a:t>
            </a:fld>
            <a:endParaRPr lang="de-DE"/>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2018BBC3-0500-476B-9FF8-3672D70E4B49}" type="slidenum">
              <a:rPr lang="de-DE" smtClean="0"/>
              <a:t>‹#›</a:t>
            </a:fld>
            <a:endParaRPr lang="de-DE"/>
          </a:p>
        </p:txBody>
      </p:sp>
    </p:spTree>
    <p:extLst>
      <p:ext uri="{BB962C8B-B14F-4D97-AF65-F5344CB8AC3E}">
        <p14:creationId xmlns:p14="http://schemas.microsoft.com/office/powerpoint/2010/main" val="14726721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4" userDrawn="1">
          <p15:clr>
            <a:srgbClr val="F26B43"/>
          </p15:clr>
        </p15:guide>
        <p15:guide id="2" pos="230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 name="Google Shape;138;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16093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5CDE36-8A7D-4A62-A611-1A92E93BC524}" type="slidenum">
              <a:rPr lang="en-AU" smtClean="0"/>
              <a:t>17</a:t>
            </a:fld>
            <a:endParaRPr lang="en-AU"/>
          </a:p>
        </p:txBody>
      </p:sp>
    </p:spTree>
    <p:extLst>
      <p:ext uri="{BB962C8B-B14F-4D97-AF65-F5344CB8AC3E}">
        <p14:creationId xmlns:p14="http://schemas.microsoft.com/office/powerpoint/2010/main" val="3628426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en-US" smtClean="0"/>
              <a:t>18</a:t>
            </a:fld>
            <a:endParaRPr lang="en-US" dirty="0"/>
          </a:p>
        </p:txBody>
      </p:sp>
    </p:spTree>
    <p:extLst>
      <p:ext uri="{BB962C8B-B14F-4D97-AF65-F5344CB8AC3E}">
        <p14:creationId xmlns:p14="http://schemas.microsoft.com/office/powerpoint/2010/main" val="1421660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4cc2fa6589_1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4cc2fa6589_1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de-DE" smtClean="0"/>
              <a:t>4</a:t>
            </a:fld>
            <a:endParaRPr lang="de-DE"/>
          </a:p>
        </p:txBody>
      </p:sp>
    </p:spTree>
    <p:extLst>
      <p:ext uri="{BB962C8B-B14F-4D97-AF65-F5344CB8AC3E}">
        <p14:creationId xmlns:p14="http://schemas.microsoft.com/office/powerpoint/2010/main" val="2004810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de-DE" smtClean="0"/>
              <a:t>5</a:t>
            </a:fld>
            <a:endParaRPr lang="de-DE"/>
          </a:p>
        </p:txBody>
      </p:sp>
    </p:spTree>
    <p:extLst>
      <p:ext uri="{BB962C8B-B14F-4D97-AF65-F5344CB8AC3E}">
        <p14:creationId xmlns:p14="http://schemas.microsoft.com/office/powerpoint/2010/main" val="1290135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en-US" smtClean="0"/>
              <a:t>6</a:t>
            </a:fld>
            <a:endParaRPr lang="en-US" dirty="0"/>
          </a:p>
        </p:txBody>
      </p:sp>
    </p:spTree>
    <p:extLst>
      <p:ext uri="{BB962C8B-B14F-4D97-AF65-F5344CB8AC3E}">
        <p14:creationId xmlns:p14="http://schemas.microsoft.com/office/powerpoint/2010/main" val="3440258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en-US" smtClean="0"/>
              <a:t>7</a:t>
            </a:fld>
            <a:endParaRPr lang="en-US" dirty="0"/>
          </a:p>
        </p:txBody>
      </p:sp>
    </p:spTree>
    <p:extLst>
      <p:ext uri="{BB962C8B-B14F-4D97-AF65-F5344CB8AC3E}">
        <p14:creationId xmlns:p14="http://schemas.microsoft.com/office/powerpoint/2010/main" val="4023616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de-DE" smtClean="0"/>
              <a:t>9</a:t>
            </a:fld>
            <a:endParaRPr lang="de-DE"/>
          </a:p>
        </p:txBody>
      </p:sp>
    </p:spTree>
    <p:extLst>
      <p:ext uri="{BB962C8B-B14F-4D97-AF65-F5344CB8AC3E}">
        <p14:creationId xmlns:p14="http://schemas.microsoft.com/office/powerpoint/2010/main" val="1282491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18BBC3-0500-476B-9FF8-3672D70E4B49}" type="slidenum">
              <a:rPr lang="en-US" smtClean="0"/>
              <a:t>14</a:t>
            </a:fld>
            <a:endParaRPr lang="en-US" dirty="0"/>
          </a:p>
        </p:txBody>
      </p:sp>
    </p:spTree>
    <p:extLst>
      <p:ext uri="{BB962C8B-B14F-4D97-AF65-F5344CB8AC3E}">
        <p14:creationId xmlns:p14="http://schemas.microsoft.com/office/powerpoint/2010/main" val="4027889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F7120A-F9E1-4D6E-BAE6-A4F0A399E8D6}" type="slidenum">
              <a:rPr lang="en-US" smtClean="0"/>
              <a:t>15</a:t>
            </a:fld>
            <a:endParaRPr lang="en-US" dirty="0"/>
          </a:p>
        </p:txBody>
      </p:sp>
    </p:spTree>
    <p:extLst>
      <p:ext uri="{BB962C8B-B14F-4D97-AF65-F5344CB8AC3E}">
        <p14:creationId xmlns:p14="http://schemas.microsoft.com/office/powerpoint/2010/main" val="2135974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5CDE36-8A7D-4A62-A611-1A92E93BC524}" type="slidenum">
              <a:rPr lang="en-AU" smtClean="0"/>
              <a:t>16</a:t>
            </a:fld>
            <a:endParaRPr lang="en-AU"/>
          </a:p>
        </p:txBody>
      </p:sp>
    </p:spTree>
    <p:extLst>
      <p:ext uri="{BB962C8B-B14F-4D97-AF65-F5344CB8AC3E}">
        <p14:creationId xmlns:p14="http://schemas.microsoft.com/office/powerpoint/2010/main" val="148295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2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2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2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5.png"/><Relationship Id="rId4" Type="http://schemas.openxmlformats.org/officeDocument/2006/relationships/image" Target="../media/image2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4.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7.sv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4.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9.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30.png"/><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31.svg"/><Relationship Id="rId9"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3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34.svg"/><Relationship Id="rId9" Type="http://schemas.openxmlformats.org/officeDocument/2006/relationships/image" Target="../media/image6.sv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oleObject" Target="../embeddings/oleObject5.bin"/><Relationship Id="rId12"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7.svg"/><Relationship Id="rId11" Type="http://schemas.openxmlformats.org/officeDocument/2006/relationships/image" Target="../media/image12.png"/><Relationship Id="rId5" Type="http://schemas.openxmlformats.org/officeDocument/2006/relationships/image" Target="../media/image16.png"/><Relationship Id="rId10" Type="http://schemas.openxmlformats.org/officeDocument/2006/relationships/image" Target="../media/image6.svg"/><Relationship Id="rId4" Type="http://schemas.openxmlformats.org/officeDocument/2006/relationships/image" Target="../media/image15.svg"/><Relationship Id="rId9"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2.png"/><Relationship Id="rId5" Type="http://schemas.openxmlformats.org/officeDocument/2006/relationships/image" Target="../media/image25.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32.png"/><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24.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oleObject" Target="../embeddings/oleObject6.bin"/><Relationship Id="rId12"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9.svg"/><Relationship Id="rId11" Type="http://schemas.openxmlformats.org/officeDocument/2006/relationships/image" Target="../media/image12.png"/><Relationship Id="rId5" Type="http://schemas.openxmlformats.org/officeDocument/2006/relationships/image" Target="../media/image18.png"/><Relationship Id="rId10" Type="http://schemas.openxmlformats.org/officeDocument/2006/relationships/image" Target="../media/image6.svg"/><Relationship Id="rId4" Type="http://schemas.openxmlformats.org/officeDocument/2006/relationships/image" Target="../media/image15.svg"/><Relationship Id="rId9"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oleObject" Target="../embeddings/oleObject7.bin"/><Relationship Id="rId12"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1.svg"/><Relationship Id="rId11" Type="http://schemas.openxmlformats.org/officeDocument/2006/relationships/image" Target="../media/image12.png"/><Relationship Id="rId5" Type="http://schemas.openxmlformats.org/officeDocument/2006/relationships/image" Target="../media/image20.png"/><Relationship Id="rId10" Type="http://schemas.openxmlformats.org/officeDocument/2006/relationships/image" Target="../media/image6.svg"/><Relationship Id="rId4" Type="http://schemas.openxmlformats.org/officeDocument/2006/relationships/image" Target="../media/image15.svg"/><Relationship Id="rId9"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3.svg"/><Relationship Id="rId11" Type="http://schemas.openxmlformats.org/officeDocument/2006/relationships/image" Target="../media/image13.svg"/><Relationship Id="rId5" Type="http://schemas.openxmlformats.org/officeDocument/2006/relationships/image" Target="../media/image22.png"/><Relationship Id="rId10" Type="http://schemas.openxmlformats.org/officeDocument/2006/relationships/image" Target="../media/image12.png"/><Relationship Id="rId4" Type="http://schemas.openxmlformats.org/officeDocument/2006/relationships/image" Target="../media/image15.svg"/><Relationship Id="rId9"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4B019C93-BB84-B65E-E551-7C073C82DE9B}"/>
              </a:ext>
            </a:extLst>
          </p:cNvPr>
          <p:cNvSpPr/>
          <p:nvPr/>
        </p:nvSpPr>
        <p:spPr bwMode="gray">
          <a:xfrm>
            <a:off x="382589" y="369888"/>
            <a:ext cx="6577508" cy="3851275"/>
          </a:xfrm>
          <a:custGeom>
            <a:avLst/>
            <a:gdLst/>
            <a:ahLst/>
            <a:cxnLst/>
            <a:rect l="l" t="t" r="r" b="b"/>
            <a:pathLst>
              <a:path w="10845165" h="6324600">
                <a:moveTo>
                  <a:pt x="10844842" y="0"/>
                </a:moveTo>
                <a:lnTo>
                  <a:pt x="0" y="0"/>
                </a:lnTo>
                <a:lnTo>
                  <a:pt x="0" y="6324414"/>
                </a:lnTo>
                <a:lnTo>
                  <a:pt x="8750665" y="6324414"/>
                </a:lnTo>
                <a:lnTo>
                  <a:pt x="8798727" y="6323862"/>
                </a:lnTo>
                <a:lnTo>
                  <a:pt x="8846525" y="6322211"/>
                </a:lnTo>
                <a:lnTo>
                  <a:pt x="8894045" y="6319475"/>
                </a:lnTo>
                <a:lnTo>
                  <a:pt x="8941278" y="6315665"/>
                </a:lnTo>
                <a:lnTo>
                  <a:pt x="8988211" y="6310792"/>
                </a:lnTo>
                <a:lnTo>
                  <a:pt x="9034833" y="6304869"/>
                </a:lnTo>
                <a:lnTo>
                  <a:pt x="9081131" y="6297908"/>
                </a:lnTo>
                <a:lnTo>
                  <a:pt x="9127096" y="6289920"/>
                </a:lnTo>
                <a:lnTo>
                  <a:pt x="9172715" y="6280916"/>
                </a:lnTo>
                <a:lnTo>
                  <a:pt x="9217976" y="6270910"/>
                </a:lnTo>
                <a:lnTo>
                  <a:pt x="9262869" y="6259912"/>
                </a:lnTo>
                <a:lnTo>
                  <a:pt x="9307380" y="6247935"/>
                </a:lnTo>
                <a:lnTo>
                  <a:pt x="9351500" y="6234990"/>
                </a:lnTo>
                <a:lnTo>
                  <a:pt x="9395216" y="6221089"/>
                </a:lnTo>
                <a:lnTo>
                  <a:pt x="9438517" y="6206244"/>
                </a:lnTo>
                <a:lnTo>
                  <a:pt x="9481391" y="6190467"/>
                </a:lnTo>
                <a:lnTo>
                  <a:pt x="9523827" y="6173769"/>
                </a:lnTo>
                <a:lnTo>
                  <a:pt x="9565813" y="6156162"/>
                </a:lnTo>
                <a:lnTo>
                  <a:pt x="9607338" y="6137659"/>
                </a:lnTo>
                <a:lnTo>
                  <a:pt x="9648390" y="6118270"/>
                </a:lnTo>
                <a:lnTo>
                  <a:pt x="9688957" y="6098009"/>
                </a:lnTo>
                <a:lnTo>
                  <a:pt x="9729028" y="6076885"/>
                </a:lnTo>
                <a:lnTo>
                  <a:pt x="9768592" y="6054913"/>
                </a:lnTo>
                <a:lnTo>
                  <a:pt x="9807636" y="6032102"/>
                </a:lnTo>
                <a:lnTo>
                  <a:pt x="9846150" y="6008465"/>
                </a:lnTo>
                <a:lnTo>
                  <a:pt x="9884122" y="5984015"/>
                </a:lnTo>
                <a:lnTo>
                  <a:pt x="9921540" y="5958761"/>
                </a:lnTo>
                <a:lnTo>
                  <a:pt x="9958392" y="5932718"/>
                </a:lnTo>
                <a:lnTo>
                  <a:pt x="9994667" y="5905895"/>
                </a:lnTo>
                <a:lnTo>
                  <a:pt x="10030354" y="5878305"/>
                </a:lnTo>
                <a:lnTo>
                  <a:pt x="10065441" y="5849961"/>
                </a:lnTo>
                <a:lnTo>
                  <a:pt x="10099917" y="5820873"/>
                </a:lnTo>
                <a:lnTo>
                  <a:pt x="10133769" y="5791053"/>
                </a:lnTo>
                <a:lnTo>
                  <a:pt x="10166987" y="5760514"/>
                </a:lnTo>
                <a:lnTo>
                  <a:pt x="10199558" y="5729267"/>
                </a:lnTo>
                <a:lnTo>
                  <a:pt x="10231472" y="5697323"/>
                </a:lnTo>
                <a:lnTo>
                  <a:pt x="10262716" y="5664696"/>
                </a:lnTo>
                <a:lnTo>
                  <a:pt x="10293280" y="5631396"/>
                </a:lnTo>
                <a:lnTo>
                  <a:pt x="10323151" y="5597435"/>
                </a:lnTo>
                <a:lnTo>
                  <a:pt x="10352318" y="5562825"/>
                </a:lnTo>
                <a:lnTo>
                  <a:pt x="10380770" y="5527579"/>
                </a:lnTo>
                <a:lnTo>
                  <a:pt x="10408494" y="5491707"/>
                </a:lnTo>
                <a:lnTo>
                  <a:pt x="10435480" y="5455222"/>
                </a:lnTo>
                <a:lnTo>
                  <a:pt x="10461716" y="5418135"/>
                </a:lnTo>
                <a:lnTo>
                  <a:pt x="10487190" y="5380458"/>
                </a:lnTo>
                <a:lnTo>
                  <a:pt x="10511890" y="5342203"/>
                </a:lnTo>
                <a:lnTo>
                  <a:pt x="10535806" y="5303382"/>
                </a:lnTo>
                <a:lnTo>
                  <a:pt x="10558926" y="5264007"/>
                </a:lnTo>
                <a:lnTo>
                  <a:pt x="10581237" y="5224089"/>
                </a:lnTo>
                <a:lnTo>
                  <a:pt x="10602729" y="5183640"/>
                </a:lnTo>
                <a:lnTo>
                  <a:pt x="10623390" y="5142673"/>
                </a:lnTo>
                <a:lnTo>
                  <a:pt x="10643209" y="5101198"/>
                </a:lnTo>
                <a:lnTo>
                  <a:pt x="10662173" y="5059228"/>
                </a:lnTo>
                <a:lnTo>
                  <a:pt x="10680271" y="5016774"/>
                </a:lnTo>
                <a:lnTo>
                  <a:pt x="10697493" y="4973849"/>
                </a:lnTo>
                <a:lnTo>
                  <a:pt x="10713825" y="4930464"/>
                </a:lnTo>
                <a:lnTo>
                  <a:pt x="10729257" y="4886630"/>
                </a:lnTo>
                <a:lnTo>
                  <a:pt x="10743778" y="4842361"/>
                </a:lnTo>
                <a:lnTo>
                  <a:pt x="10757374" y="4797667"/>
                </a:lnTo>
                <a:lnTo>
                  <a:pt x="10770036" y="4752560"/>
                </a:lnTo>
                <a:lnTo>
                  <a:pt x="10781751" y="4707052"/>
                </a:lnTo>
                <a:lnTo>
                  <a:pt x="10792508" y="4661156"/>
                </a:lnTo>
                <a:lnTo>
                  <a:pt x="10802296" y="4614882"/>
                </a:lnTo>
                <a:lnTo>
                  <a:pt x="10811102" y="4568243"/>
                </a:lnTo>
                <a:lnTo>
                  <a:pt x="10818916" y="4521250"/>
                </a:lnTo>
                <a:lnTo>
                  <a:pt x="10825725" y="4473915"/>
                </a:lnTo>
                <a:lnTo>
                  <a:pt x="10831518" y="4426250"/>
                </a:lnTo>
                <a:lnTo>
                  <a:pt x="10836284" y="4378267"/>
                </a:lnTo>
                <a:lnTo>
                  <a:pt x="10840011" y="4329978"/>
                </a:lnTo>
                <a:lnTo>
                  <a:pt x="10842687" y="4281394"/>
                </a:lnTo>
                <a:lnTo>
                  <a:pt x="10844301" y="4232528"/>
                </a:lnTo>
                <a:lnTo>
                  <a:pt x="10844842" y="4183390"/>
                </a:lnTo>
                <a:lnTo>
                  <a:pt x="10844842" y="0"/>
                </a:lnTo>
                <a:close/>
              </a:path>
            </a:pathLst>
          </a:custGeom>
          <a:solidFill>
            <a:schemeClr val="accent1"/>
          </a:solidFill>
        </p:spPr>
        <p:txBody>
          <a:bodyPr wrap="square" lIns="0" tIns="0" rIns="0" bIns="0" rtlCol="0"/>
          <a:lstStyle/>
          <a:p>
            <a:endParaRPr lang="en-US" noProof="0" dirty="0">
              <a:solidFill>
                <a:schemeClr val="bg1"/>
              </a:solidFill>
            </a:endParaRPr>
          </a:p>
        </p:txBody>
      </p:sp>
      <p:pic>
        <p:nvPicPr>
          <p:cNvPr id="10" name="Graphic 9">
            <a:extLst>
              <a:ext uri="{FF2B5EF4-FFF2-40B4-BE49-F238E27FC236}">
                <a16:creationId xmlns:a16="http://schemas.microsoft.com/office/drawing/2014/main" id="{3FCA0143-0FF3-7F71-B7E6-67C3D9BEA49E}"/>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6800" y="5983200"/>
            <a:ext cx="508274" cy="508274"/>
          </a:xfrm>
          <a:prstGeom prst="rect">
            <a:avLst/>
          </a:prstGeom>
        </p:spPr>
      </p:pic>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extLst>
              <p:ext uri="{D42A27DB-BD31-4B8C-83A1-F6EECF244321}">
                <p14:modId xmlns:p14="http://schemas.microsoft.com/office/powerpoint/2010/main" val="148139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a:solidFill>
                  <a:schemeClr val="bg1"/>
                </a:solidFill>
              </a:defRPr>
            </a:lvl1pPr>
          </a:lstStyle>
          <a:p>
            <a:r>
              <a:rPr lang="en-US" noProof="0" dirty="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546795"/>
            <a:ext cx="5235824" cy="295466"/>
          </a:xfrm>
          <a:prstGeom prst="rect">
            <a:avLst/>
          </a:prstGeom>
        </p:spPr>
        <p:txBody>
          <a:bodyPr anchor="b" anchorCtr="0">
            <a:spAutoFit/>
          </a:bodyPr>
          <a:lstStyle>
            <a:lvl1pPr>
              <a:defRPr sz="1200">
                <a:solidFill>
                  <a:schemeClr val="bg1"/>
                </a:solidFill>
              </a:defRPr>
            </a:lvl1pPr>
          </a:lstStyle>
          <a:p>
            <a:r>
              <a:rPr lang="en-US" noProof="0"/>
              <a:t>01.23.2023</a:t>
            </a:r>
            <a:endParaRPr lang="en-US" noProof="0" dirty="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291798"/>
            <a:ext cx="5235824"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Tree>
    <p:extLst>
      <p:ext uri="{BB962C8B-B14F-4D97-AF65-F5344CB8AC3E}">
        <p14:creationId xmlns:p14="http://schemas.microsoft.com/office/powerpoint/2010/main" val="1890182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9DA5E9-E4BA-9A87-0124-200A34FBF475}"/>
              </a:ext>
            </a:extLst>
          </p:cNvPr>
          <p:cNvGraphicFramePr>
            <a:graphicFrameLocks noChangeAspect="1"/>
          </p:cNvGraphicFramePr>
          <p:nvPr>
            <p:custDataLst>
              <p:tags r:id="rId1"/>
            </p:custDataLst>
            <p:extLst>
              <p:ext uri="{D42A27DB-BD31-4B8C-83A1-F6EECF244321}">
                <p14:modId xmlns:p14="http://schemas.microsoft.com/office/powerpoint/2010/main" val="178617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799DA5E9-E4BA-9A87-0124-200A34FBF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p:nvPr>
        </p:nvSpPr>
        <p:spPr>
          <a:xfrm>
            <a:off x="0" y="271"/>
            <a:ext cx="3095502" cy="6857729"/>
          </a:xfrm>
          <a:solidFill>
            <a:schemeClr val="bg1"/>
          </a:solidFill>
        </p:spPr>
        <p:txBody>
          <a:bodyPr/>
          <a:lstStyle/>
          <a:p>
            <a:r>
              <a:rPr lang="en-US" noProof="0"/>
              <a:t>Click icon to add picture</a:t>
            </a:r>
            <a:endParaRPr lang="en-GB" noProof="0" dirty="0"/>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a:xfrm>
            <a:off x="4260850" y="1539550"/>
            <a:ext cx="3676650" cy="242597"/>
          </a:xfrm>
        </p:spPr>
        <p:txBody>
          <a:bodyPr/>
          <a:lstStyle>
            <a:lvl1pPr marL="719138" indent="-719138">
              <a:buFont typeface="+mj-lt"/>
              <a:buAutoNum type="arabicPeriod"/>
              <a:defRPr>
                <a:latin typeface="+mj-lt"/>
              </a:defRPr>
            </a:lvl1pPr>
          </a:lstStyle>
          <a:p>
            <a:pPr lvl="0"/>
            <a:r>
              <a:rPr lang="en-US" noProof="0"/>
              <a:t>Chapter</a:t>
            </a:r>
            <a:endParaRPr lang="en-US" noProof="0" dirty="0"/>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a:xfrm>
            <a:off x="4260850" y="1782148"/>
            <a:ext cx="3676650" cy="242597"/>
          </a:xfrm>
        </p:spPr>
        <p:txBody>
          <a:bodyPr tIns="36000"/>
          <a:lstStyle>
            <a:lvl1pPr marL="719138" indent="0">
              <a:buNone/>
              <a:defRPr/>
            </a:lvl1pPr>
          </a:lstStyle>
          <a:p>
            <a:pPr lvl="0"/>
            <a:r>
              <a:rPr lang="en-US" noProof="0"/>
              <a:t>Lorem</a:t>
            </a:r>
            <a:endParaRPr lang="en-US" noProof="0" dirty="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a:xfrm>
            <a:off x="4260850" y="2294745"/>
            <a:ext cx="3676650" cy="242597"/>
          </a:xfrm>
        </p:spPr>
        <p:txBody>
          <a:bodyPr/>
          <a:lstStyle>
            <a:lvl1pPr marL="719138" indent="-719138">
              <a:buFont typeface="+mj-lt"/>
              <a:buAutoNum type="arabicPeriod" startAt="2"/>
              <a:defRPr>
                <a:latin typeface="+mj-lt"/>
              </a:defRPr>
            </a:lvl1pPr>
          </a:lstStyle>
          <a:p>
            <a:pPr lvl="0"/>
            <a:r>
              <a:rPr lang="en-US" noProof="0"/>
              <a:t>Chapter</a:t>
            </a:r>
            <a:endParaRPr lang="en-US" noProof="0" dirty="0"/>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a:xfrm>
            <a:off x="4260850" y="2537342"/>
            <a:ext cx="3676650" cy="242597"/>
          </a:xfrm>
        </p:spPr>
        <p:txBody>
          <a:bodyPr tIns="36000"/>
          <a:lstStyle>
            <a:lvl1pPr marL="719138" indent="0">
              <a:buNone/>
              <a:defRPr/>
            </a:lvl1pPr>
          </a:lstStyle>
          <a:p>
            <a:pPr lvl="0"/>
            <a:r>
              <a:rPr lang="en-US" noProof="0"/>
              <a:t>Lorem</a:t>
            </a:r>
            <a:endParaRPr lang="en-US" noProof="0" dirty="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a:xfrm>
            <a:off x="4260850" y="3049939"/>
            <a:ext cx="3676650" cy="242597"/>
          </a:xfrm>
        </p:spPr>
        <p:txBody>
          <a:bodyPr/>
          <a:lstStyle>
            <a:lvl1pPr marL="719138" indent="-719138">
              <a:buFont typeface="+mj-lt"/>
              <a:buAutoNum type="arabicPeriod" startAt="3"/>
              <a:defRPr>
                <a:latin typeface="+mj-lt"/>
              </a:defRPr>
            </a:lvl1pPr>
          </a:lstStyle>
          <a:p>
            <a:pPr lvl="0"/>
            <a:r>
              <a:rPr lang="en-US" noProof="0"/>
              <a:t>Chapter</a:t>
            </a:r>
            <a:endParaRPr lang="en-US" noProof="0" dirty="0"/>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a:xfrm>
            <a:off x="4260850" y="3292536"/>
            <a:ext cx="3676650" cy="242597"/>
          </a:xfrm>
        </p:spPr>
        <p:txBody>
          <a:bodyPr tIns="36000"/>
          <a:lstStyle>
            <a:lvl1pPr marL="719138" indent="0">
              <a:buNone/>
              <a:defRPr/>
            </a:lvl1pPr>
          </a:lstStyle>
          <a:p>
            <a:pPr lvl="0"/>
            <a:r>
              <a:rPr lang="en-US" noProof="0"/>
              <a:t>Lorem</a:t>
            </a:r>
            <a:endParaRPr lang="en-US" noProof="0" dirty="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a:xfrm>
            <a:off x="4260850" y="3805133"/>
            <a:ext cx="3676650" cy="242597"/>
          </a:xfrm>
        </p:spPr>
        <p:txBody>
          <a:bodyPr/>
          <a:lstStyle>
            <a:lvl1pPr marL="719138" indent="-719138">
              <a:buFont typeface="+mj-lt"/>
              <a:buAutoNum type="arabicPeriod" startAt="4"/>
              <a:defRPr>
                <a:latin typeface="+mj-lt"/>
              </a:defRPr>
            </a:lvl1pPr>
          </a:lstStyle>
          <a:p>
            <a:pPr lvl="0"/>
            <a:r>
              <a:rPr lang="en-US" noProof="0"/>
              <a:t>Chapter</a:t>
            </a:r>
            <a:endParaRPr lang="en-US" noProof="0" dirty="0"/>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a:xfrm>
            <a:off x="4260850" y="4047730"/>
            <a:ext cx="3676650" cy="242597"/>
          </a:xfrm>
        </p:spPr>
        <p:txBody>
          <a:bodyPr tIns="36000"/>
          <a:lstStyle>
            <a:lvl1pPr marL="719138" indent="0">
              <a:buNone/>
              <a:defRPr/>
            </a:lvl1pPr>
          </a:lstStyle>
          <a:p>
            <a:pPr lvl="0"/>
            <a:r>
              <a:rPr lang="en-US" noProof="0"/>
              <a:t>Lorem</a:t>
            </a:r>
            <a:endParaRPr lang="en-US" noProof="0" dirty="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a:xfrm>
            <a:off x="4260850" y="4560327"/>
            <a:ext cx="3676650" cy="242597"/>
          </a:xfrm>
        </p:spPr>
        <p:txBody>
          <a:bodyPr/>
          <a:lstStyle>
            <a:lvl1pPr marL="719138" indent="-719138">
              <a:buFont typeface="+mj-lt"/>
              <a:buAutoNum type="arabicPeriod" startAt="5"/>
              <a:defRPr>
                <a:latin typeface="+mj-lt"/>
              </a:defRPr>
            </a:lvl1pPr>
          </a:lstStyle>
          <a:p>
            <a:pPr lvl="0"/>
            <a:r>
              <a:rPr lang="en-US" noProof="0"/>
              <a:t>Chapter</a:t>
            </a:r>
            <a:endParaRPr lang="en-US" noProof="0" dirty="0"/>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a:xfrm>
            <a:off x="4260850" y="4802924"/>
            <a:ext cx="3676650" cy="242597"/>
          </a:xfrm>
        </p:spPr>
        <p:txBody>
          <a:bodyPr tIns="36000"/>
          <a:lstStyle>
            <a:lvl1pPr marL="719138" indent="0">
              <a:buNone/>
              <a:defRPr/>
            </a:lvl1pPr>
          </a:lstStyle>
          <a:p>
            <a:pPr lvl="0"/>
            <a:r>
              <a:rPr lang="en-US" noProof="0"/>
              <a:t>Lorem</a:t>
            </a:r>
            <a:endParaRPr lang="en-US" noProof="0" dirty="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a:xfrm>
            <a:off x="8135938" y="1527175"/>
            <a:ext cx="3676650" cy="242597"/>
          </a:xfrm>
        </p:spPr>
        <p:txBody>
          <a:bodyPr/>
          <a:lstStyle>
            <a:lvl1pPr marL="719138" indent="-719138">
              <a:buFont typeface="+mj-lt"/>
              <a:buAutoNum type="arabicPeriod" startAt="6"/>
              <a:defRPr>
                <a:latin typeface="+mj-lt"/>
              </a:defRPr>
            </a:lvl1pPr>
          </a:lstStyle>
          <a:p>
            <a:pPr lvl="0"/>
            <a:r>
              <a:rPr lang="en-US" noProof="0"/>
              <a:t>Chapter</a:t>
            </a:r>
            <a:endParaRPr lang="en-US" noProof="0" dirty="0"/>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a:xfrm>
            <a:off x="8135938" y="1769773"/>
            <a:ext cx="3676650" cy="242597"/>
          </a:xfrm>
        </p:spPr>
        <p:txBody>
          <a:bodyPr tIns="36000"/>
          <a:lstStyle>
            <a:lvl1pPr marL="719138" indent="0">
              <a:buNone/>
              <a:defRPr/>
            </a:lvl1pPr>
          </a:lstStyle>
          <a:p>
            <a:pPr lvl="0"/>
            <a:r>
              <a:rPr lang="en-US" noProof="0"/>
              <a:t>Lorem</a:t>
            </a:r>
            <a:endParaRPr lang="en-US" noProof="0" dirty="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a:xfrm>
            <a:off x="8135938" y="2282370"/>
            <a:ext cx="3676650" cy="242597"/>
          </a:xfrm>
        </p:spPr>
        <p:txBody>
          <a:bodyPr/>
          <a:lstStyle>
            <a:lvl1pPr marL="719138" indent="-719138">
              <a:buFont typeface="+mj-lt"/>
              <a:buAutoNum type="arabicPeriod" startAt="7"/>
              <a:defRPr>
                <a:latin typeface="+mj-lt"/>
              </a:defRPr>
            </a:lvl1pPr>
          </a:lstStyle>
          <a:p>
            <a:pPr lvl="0"/>
            <a:r>
              <a:rPr lang="en-US" noProof="0"/>
              <a:t>Chapter</a:t>
            </a:r>
            <a:endParaRPr lang="en-US" noProof="0" dirty="0"/>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a:xfrm>
            <a:off x="8135938" y="2524967"/>
            <a:ext cx="3676650" cy="242597"/>
          </a:xfrm>
        </p:spPr>
        <p:txBody>
          <a:bodyPr tIns="36000"/>
          <a:lstStyle>
            <a:lvl1pPr marL="719138" indent="0">
              <a:buNone/>
              <a:defRPr/>
            </a:lvl1pPr>
          </a:lstStyle>
          <a:p>
            <a:pPr lvl="0"/>
            <a:r>
              <a:rPr lang="en-US" noProof="0"/>
              <a:t>Lorem</a:t>
            </a:r>
            <a:endParaRPr lang="en-US" noProof="0" dirty="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a:xfrm>
            <a:off x="8135938" y="3037564"/>
            <a:ext cx="3676650" cy="242597"/>
          </a:xfrm>
        </p:spPr>
        <p:txBody>
          <a:bodyPr/>
          <a:lstStyle>
            <a:lvl1pPr marL="719138" indent="-719138">
              <a:buFont typeface="+mj-lt"/>
              <a:buAutoNum type="arabicPeriod" startAt="8"/>
              <a:defRPr>
                <a:latin typeface="+mj-lt"/>
              </a:defRPr>
            </a:lvl1pPr>
          </a:lstStyle>
          <a:p>
            <a:pPr lvl="0"/>
            <a:r>
              <a:rPr lang="en-US" noProof="0"/>
              <a:t>Chapter</a:t>
            </a:r>
            <a:endParaRPr lang="en-US" noProof="0" dirty="0"/>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a:xfrm>
            <a:off x="8135938" y="3280161"/>
            <a:ext cx="3676650" cy="242597"/>
          </a:xfrm>
        </p:spPr>
        <p:txBody>
          <a:bodyPr tIns="36000"/>
          <a:lstStyle>
            <a:lvl1pPr marL="719138" indent="0">
              <a:buNone/>
              <a:defRPr/>
            </a:lvl1pPr>
          </a:lstStyle>
          <a:p>
            <a:pPr lvl="0"/>
            <a:r>
              <a:rPr lang="en-US" noProof="0"/>
              <a:t>Lorem</a:t>
            </a:r>
            <a:endParaRPr lang="en-US" noProof="0" dirty="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a:xfrm>
            <a:off x="8135938" y="3792758"/>
            <a:ext cx="3676650" cy="242597"/>
          </a:xfrm>
        </p:spPr>
        <p:txBody>
          <a:bodyPr/>
          <a:lstStyle>
            <a:lvl1pPr marL="719138" indent="-719138">
              <a:buFont typeface="+mj-lt"/>
              <a:buAutoNum type="arabicPeriod" startAt="9"/>
              <a:defRPr>
                <a:latin typeface="+mj-lt"/>
              </a:defRPr>
            </a:lvl1pPr>
          </a:lstStyle>
          <a:p>
            <a:pPr lvl="0"/>
            <a:r>
              <a:rPr lang="en-US" noProof="0"/>
              <a:t>Chapter</a:t>
            </a:r>
            <a:endParaRPr lang="en-US" noProof="0" dirty="0"/>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a:xfrm>
            <a:off x="8135938" y="4035355"/>
            <a:ext cx="3676650" cy="242597"/>
          </a:xfrm>
        </p:spPr>
        <p:txBody>
          <a:bodyPr tIns="36000"/>
          <a:lstStyle>
            <a:lvl1pPr marL="719138" indent="0">
              <a:buNone/>
              <a:defRPr/>
            </a:lvl1pPr>
          </a:lstStyle>
          <a:p>
            <a:pPr lvl="0"/>
            <a:r>
              <a:rPr lang="en-US" noProof="0"/>
              <a:t>Lorem</a:t>
            </a:r>
            <a:endParaRPr lang="en-US" noProof="0" dirty="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a:xfrm>
            <a:off x="8135938" y="4547952"/>
            <a:ext cx="3676650" cy="242597"/>
          </a:xfrm>
        </p:spPr>
        <p:txBody>
          <a:bodyPr/>
          <a:lstStyle>
            <a:lvl1pPr marL="719138" indent="-719138">
              <a:buFont typeface="+mj-lt"/>
              <a:buAutoNum type="arabicPeriod" startAt="10"/>
              <a:defRPr>
                <a:latin typeface="+mj-lt"/>
              </a:defRPr>
            </a:lvl1pPr>
          </a:lstStyle>
          <a:p>
            <a:pPr lvl="0"/>
            <a:r>
              <a:rPr lang="en-US" noProof="0"/>
              <a:t>Chapter</a:t>
            </a:r>
            <a:endParaRPr lang="en-US" noProof="0" dirty="0"/>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a:xfrm>
            <a:off x="8135938" y="4790549"/>
            <a:ext cx="3676650" cy="242597"/>
          </a:xfrm>
        </p:spPr>
        <p:txBody>
          <a:bodyPr tIns="36000"/>
          <a:lstStyle>
            <a:lvl1pPr marL="719138" indent="0">
              <a:buNone/>
              <a:defRPr/>
            </a:lvl1pPr>
          </a:lstStyle>
          <a:p>
            <a:pPr lvl="0"/>
            <a:r>
              <a:rPr lang="en-US" noProof="0"/>
              <a:t>Lorem</a:t>
            </a:r>
            <a:endParaRPr lang="en-US" noProof="0" dirty="0"/>
          </a:p>
        </p:txBody>
      </p:sp>
      <p:sp>
        <p:nvSpPr>
          <p:cNvPr id="15" name="Bildplatzhalter 19">
            <a:extLst>
              <a:ext uri="{FF2B5EF4-FFF2-40B4-BE49-F238E27FC236}">
                <a16:creationId xmlns:a16="http://schemas.microsoft.com/office/drawing/2014/main" id="{397096BF-371A-6EE9-AF7E-94DEBA7FF117}"/>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22" name="Slide Number Placeholder 21">
            <a:extLst>
              <a:ext uri="{FF2B5EF4-FFF2-40B4-BE49-F238E27FC236}">
                <a16:creationId xmlns:a16="http://schemas.microsoft.com/office/drawing/2014/main" id="{A4DF786A-DFF7-2E50-D313-665093026396}"/>
              </a:ext>
            </a:extLst>
          </p:cNvPr>
          <p:cNvSpPr>
            <a:spLocks noGrp="1"/>
          </p:cNvSpPr>
          <p:nvPr>
            <p:ph type="sldNum" sz="quarter" idx="37"/>
          </p:nvPr>
        </p:nvSpPr>
        <p:spPr/>
        <p:txBody>
          <a:bodyPr/>
          <a:lstStyle/>
          <a:p>
            <a:fld id="{A115CDC9-74CB-4F6C-8CD3-A6C89F254EE7}" type="slidenum">
              <a:rPr lang="en-US" noProof="0" smtClean="0"/>
              <a:pPr/>
              <a:t>‹#›</a:t>
            </a:fld>
            <a:endParaRPr lang="en-US" noProof="0" dirty="0"/>
          </a:p>
        </p:txBody>
      </p:sp>
      <p:sp>
        <p:nvSpPr>
          <p:cNvPr id="9" name="Title 8">
            <a:extLst>
              <a:ext uri="{FF2B5EF4-FFF2-40B4-BE49-F238E27FC236}">
                <a16:creationId xmlns:a16="http://schemas.microsoft.com/office/drawing/2014/main" id="{7A71E42E-144F-42ED-9006-51D9F9C2F4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270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EE5E6F2E-1218-E22D-5877-C0280F73DE38}"/>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aphicFrame>
        <p:nvGraphicFramePr>
          <p:cNvPr id="8" name="Object 7" hidden="1">
            <a:extLst>
              <a:ext uri="{FF2B5EF4-FFF2-40B4-BE49-F238E27FC236}">
                <a16:creationId xmlns:a16="http://schemas.microsoft.com/office/drawing/2014/main" id="{ACAECAC2-527C-99A2-0D96-5D8F89F01E7F}"/>
              </a:ext>
            </a:extLst>
          </p:cNvPr>
          <p:cNvGraphicFramePr>
            <a:graphicFrameLocks noChangeAspect="1"/>
          </p:cNvGraphicFramePr>
          <p:nvPr>
            <p:custDataLst>
              <p:tags r:id="rId1"/>
            </p:custDataLst>
            <p:extLst>
              <p:ext uri="{D42A27DB-BD31-4B8C-83A1-F6EECF244321}">
                <p14:modId xmlns:p14="http://schemas.microsoft.com/office/powerpoint/2010/main" val="152450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ACAECAC2-527C-99A2-0D96-5D8F89F01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dirty="0"/>
              <a:t>Agenda</a:t>
            </a:r>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bwMode="gray">
          <a:xfrm>
            <a:off x="4260850" y="1527175"/>
            <a:ext cx="3676650" cy="264303"/>
          </a:xfrm>
        </p:spPr>
        <p:txBody>
          <a:bodyPr>
            <a:noAutofit/>
          </a:bodyPr>
          <a:lstStyle>
            <a:lvl1pPr marL="0" indent="0">
              <a:buNone/>
              <a:defRPr>
                <a:solidFill>
                  <a:schemeClr val="bg1"/>
                </a:solidFill>
                <a:latin typeface="+mj-lt"/>
              </a:defRPr>
            </a:lvl1pPr>
          </a:lstStyle>
          <a:p>
            <a:pPr lvl="0"/>
            <a:r>
              <a:rPr lang="en-US" noProof="0"/>
              <a:t>Chapter 1</a:t>
            </a:r>
            <a:endParaRPr lang="en-US" noProof="0" dirty="0"/>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bwMode="gray">
          <a:xfrm>
            <a:off x="4260850" y="3713026"/>
            <a:ext cx="3676650" cy="264303"/>
          </a:xfrm>
        </p:spPr>
        <p:txBody>
          <a:bodyPr>
            <a:noAutofit/>
          </a:bodyPr>
          <a:lstStyle>
            <a:lvl1pPr marL="0" indent="0">
              <a:buNone/>
              <a:defRPr>
                <a:solidFill>
                  <a:schemeClr val="bg1"/>
                </a:solidFill>
                <a:latin typeface="+mj-lt"/>
              </a:defRPr>
            </a:lvl1pPr>
          </a:lstStyle>
          <a:p>
            <a:pPr lvl="0"/>
            <a:r>
              <a:rPr lang="en-US" noProof="0" dirty="0"/>
              <a:t>Chapter 2</a:t>
            </a:r>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bwMode="gray">
          <a:xfrm>
            <a:off x="8135938" y="1529651"/>
            <a:ext cx="3676650" cy="264303"/>
          </a:xfrm>
        </p:spPr>
        <p:txBody>
          <a:bodyPr>
            <a:noAutofit/>
          </a:bodyPr>
          <a:lstStyle>
            <a:lvl1pPr marL="0" indent="0">
              <a:buNone/>
              <a:defRPr>
                <a:solidFill>
                  <a:schemeClr val="bg1"/>
                </a:solidFill>
                <a:latin typeface="+mj-lt"/>
              </a:defRPr>
            </a:lvl1pPr>
          </a:lstStyle>
          <a:p>
            <a:pPr lvl="0"/>
            <a:r>
              <a:rPr lang="en-US" noProof="0"/>
              <a:t>Chapter 3</a:t>
            </a:r>
            <a:endParaRPr lang="en-US" noProof="0" dirty="0"/>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bwMode="gray">
          <a:xfrm>
            <a:off x="8135938" y="3715501"/>
            <a:ext cx="3676650" cy="264303"/>
          </a:xfrm>
        </p:spPr>
        <p:txBody>
          <a:bodyPr>
            <a:noAutofit/>
          </a:bodyPr>
          <a:lstStyle>
            <a:lvl1pPr marL="0" indent="0">
              <a:buNone/>
              <a:defRPr>
                <a:solidFill>
                  <a:schemeClr val="bg1"/>
                </a:solidFill>
                <a:latin typeface="+mj-lt"/>
              </a:defRPr>
            </a:lvl1pPr>
          </a:lstStyle>
          <a:p>
            <a:pPr lvl="0"/>
            <a:r>
              <a:rPr lang="en-US" noProof="0"/>
              <a:t>Chapter 4</a:t>
            </a:r>
            <a:endParaRPr lang="en-US" noProof="0" dirty="0"/>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bwMode="gray">
          <a:xfrm>
            <a:off x="4260850" y="1791478"/>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a:t>
            </a:r>
          </a:p>
          <a:p>
            <a:pPr lvl="0"/>
            <a:r>
              <a:rPr lang="en-US" noProof="0"/>
              <a:t>Lorem</a:t>
            </a:r>
            <a:endParaRPr lang="en-US" noProof="0" dirty="0"/>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bwMode="gray">
          <a:xfrm>
            <a:off x="4260850" y="3977329"/>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a:t>
            </a:r>
          </a:p>
          <a:p>
            <a:pPr lvl="0"/>
            <a:r>
              <a:rPr lang="en-US" noProof="0"/>
              <a:t>Lorem</a:t>
            </a:r>
            <a:endParaRPr lang="en-US" noProof="0" dirty="0"/>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bwMode="gray">
          <a:xfrm>
            <a:off x="8135938" y="179395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a:t>
            </a:r>
          </a:p>
          <a:p>
            <a:pPr lvl="0"/>
            <a:r>
              <a:rPr lang="en-US" noProof="0"/>
              <a:t>Lorem</a:t>
            </a:r>
            <a:endParaRPr lang="en-US" noProof="0" dirty="0"/>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bwMode="gray">
          <a:xfrm>
            <a:off x="8135938" y="397980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a:t>
            </a:r>
          </a:p>
          <a:p>
            <a:pPr lvl="0"/>
            <a:r>
              <a:rPr lang="en-US" noProof="0"/>
              <a:t>Lorem</a:t>
            </a:r>
            <a:endParaRPr lang="en-US" noProof="0" dirty="0"/>
          </a:p>
        </p:txBody>
      </p:sp>
      <p:grpSp>
        <p:nvGrpSpPr>
          <p:cNvPr id="4" name="object 8">
            <a:extLst>
              <a:ext uri="{FF2B5EF4-FFF2-40B4-BE49-F238E27FC236}">
                <a16:creationId xmlns:a16="http://schemas.microsoft.com/office/drawing/2014/main" id="{802F1D76-0D7B-D75A-3D45-78CC41F7564D}"/>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E5F9700E-C24D-E6AE-A760-D50B580478BE}"/>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6" name="object 10">
              <a:extLst>
                <a:ext uri="{FF2B5EF4-FFF2-40B4-BE49-F238E27FC236}">
                  <a16:creationId xmlns:a16="http://schemas.microsoft.com/office/drawing/2014/main" id="{C205A939-303C-F387-58B4-D93EA62F2E44}"/>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11" name="object 11">
              <a:extLst>
                <a:ext uri="{FF2B5EF4-FFF2-40B4-BE49-F238E27FC236}">
                  <a16:creationId xmlns:a16="http://schemas.microsoft.com/office/drawing/2014/main" id="{2E0E3D84-C1C3-6EA6-330F-414843E29058}"/>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26" name="Slide Number Placeholder 25">
            <a:extLst>
              <a:ext uri="{FF2B5EF4-FFF2-40B4-BE49-F238E27FC236}">
                <a16:creationId xmlns:a16="http://schemas.microsoft.com/office/drawing/2014/main" id="{A621CBE1-B7C4-8253-F16A-129BB90FE6C7}"/>
              </a:ext>
            </a:extLst>
          </p:cNvPr>
          <p:cNvSpPr>
            <a:spLocks noGrp="1"/>
          </p:cNvSpPr>
          <p:nvPr>
            <p:ph type="sldNum" sz="quarter" idx="25"/>
          </p:nvPr>
        </p:nvSpPr>
        <p:spPr bwMode="gray"/>
        <p:txBody>
          <a:bodyPr/>
          <a:lstStyle/>
          <a:p>
            <a:fld id="{A115CDC9-74CB-4F6C-8CD3-A6C89F254EE7}" type="slidenum">
              <a:rPr lang="en-US" noProof="0" smtClean="0"/>
              <a:pPr/>
              <a:t>‹#›</a:t>
            </a:fld>
            <a:endParaRPr lang="en-US" noProof="0" dirty="0"/>
          </a:p>
        </p:txBody>
      </p:sp>
      <p:sp>
        <p:nvSpPr>
          <p:cNvPr id="3" name="Bildplatzhalter 19">
            <a:extLst>
              <a:ext uri="{FF2B5EF4-FFF2-40B4-BE49-F238E27FC236}">
                <a16:creationId xmlns:a16="http://schemas.microsoft.com/office/drawing/2014/main" id="{5E12244F-C005-955B-F573-81EE1B246F7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Tree>
    <p:extLst>
      <p:ext uri="{BB962C8B-B14F-4D97-AF65-F5344CB8AC3E}">
        <p14:creationId xmlns:p14="http://schemas.microsoft.com/office/powerpoint/2010/main" val="3718384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62DABF9-3F54-0EC6-73B6-EDD098E6B7CD}"/>
              </a:ext>
            </a:extLst>
          </p:cNvPr>
          <p:cNvSpPr/>
          <p:nvPr userDrawn="1"/>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aphicFrame>
        <p:nvGraphicFramePr>
          <p:cNvPr id="9" name="Object 8" hidden="1">
            <a:extLst>
              <a:ext uri="{FF2B5EF4-FFF2-40B4-BE49-F238E27FC236}">
                <a16:creationId xmlns:a16="http://schemas.microsoft.com/office/drawing/2014/main" id="{AD92A061-8253-231E-49A3-4FC46F997AF9}"/>
              </a:ext>
            </a:extLst>
          </p:cNvPr>
          <p:cNvGraphicFramePr>
            <a:graphicFrameLocks noChangeAspect="1"/>
          </p:cNvGraphicFramePr>
          <p:nvPr>
            <p:custDataLst>
              <p:tags r:id="rId1"/>
            </p:custDataLst>
            <p:extLst>
              <p:ext uri="{D42A27DB-BD31-4B8C-83A1-F6EECF244321}">
                <p14:modId xmlns:p14="http://schemas.microsoft.com/office/powerpoint/2010/main" val="306346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D92A061-8253-231E-49A3-4FC46F997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bwMode="gray">
          <a:xfrm>
            <a:off x="0" y="1"/>
            <a:ext cx="5032375" cy="6857729"/>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6192838" y="542123"/>
            <a:ext cx="5618162" cy="283219"/>
          </a:xfrm>
        </p:spPr>
        <p:txBody>
          <a:bodyPr vert="horz"/>
          <a:lstStyle>
            <a:lvl1pPr>
              <a:defRPr>
                <a:solidFill>
                  <a:schemeClr val="bg1"/>
                </a:solidFill>
              </a:defRPr>
            </a:lvl1pPr>
          </a:lstStyle>
          <a:p>
            <a:r>
              <a:rPr lang="en-US" noProof="0"/>
              <a:t>Agenda</a:t>
            </a:r>
            <a:endParaRPr lang="en-US" noProof="0" dirty="0"/>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bwMode="gray">
          <a:xfrm>
            <a:off x="6192838" y="1539550"/>
            <a:ext cx="5618162" cy="242597"/>
          </a:xfrm>
        </p:spPr>
        <p:txBody>
          <a:bodyPr/>
          <a:lstStyle>
            <a:lvl1pPr marL="719138" indent="-719138">
              <a:buFont typeface="+mj-lt"/>
              <a:buAutoNum type="arabicPeriod"/>
              <a:defRPr>
                <a:solidFill>
                  <a:schemeClr val="bg1"/>
                </a:solidFill>
                <a:latin typeface="+mj-lt"/>
              </a:defRPr>
            </a:lvl1pPr>
          </a:lstStyle>
          <a:p>
            <a:pPr lvl="0"/>
            <a:r>
              <a:rPr lang="en-US" noProof="0"/>
              <a:t>Chapter</a:t>
            </a:r>
            <a:endParaRPr lang="en-US" noProof="0" dirty="0"/>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bwMode="gray">
          <a:xfrm>
            <a:off x="6192838" y="1782148"/>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bwMode="gray">
          <a:xfrm>
            <a:off x="6192838" y="2294745"/>
            <a:ext cx="5618162" cy="242597"/>
          </a:xfrm>
        </p:spPr>
        <p:txBody>
          <a:bodyPr/>
          <a:lstStyle>
            <a:lvl1pPr marL="719138" indent="-719138">
              <a:buFont typeface="+mj-lt"/>
              <a:buAutoNum type="arabicPeriod" startAt="2"/>
              <a:defRPr>
                <a:solidFill>
                  <a:schemeClr val="bg1"/>
                </a:solidFill>
                <a:latin typeface="+mj-lt"/>
              </a:defRPr>
            </a:lvl1pPr>
          </a:lstStyle>
          <a:p>
            <a:pPr lvl="0"/>
            <a:r>
              <a:rPr lang="en-US" noProof="0"/>
              <a:t>Chapter</a:t>
            </a:r>
            <a:endParaRPr lang="en-US" noProof="0" dirty="0"/>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bwMode="gray">
          <a:xfrm>
            <a:off x="6192838" y="2537342"/>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bwMode="gray">
          <a:xfrm>
            <a:off x="6192838" y="3049939"/>
            <a:ext cx="5618162" cy="242597"/>
          </a:xfrm>
        </p:spPr>
        <p:txBody>
          <a:bodyPr/>
          <a:lstStyle>
            <a:lvl1pPr marL="719138" indent="-719138">
              <a:buFont typeface="+mj-lt"/>
              <a:buAutoNum type="arabicPeriod" startAt="3"/>
              <a:defRPr>
                <a:solidFill>
                  <a:schemeClr val="bg1"/>
                </a:solidFill>
                <a:latin typeface="+mj-lt"/>
              </a:defRPr>
            </a:lvl1pPr>
          </a:lstStyle>
          <a:p>
            <a:pPr lvl="0"/>
            <a:r>
              <a:rPr lang="en-US" noProof="0"/>
              <a:t>Chapter</a:t>
            </a:r>
            <a:endParaRPr lang="en-US" noProof="0" dirty="0"/>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bwMode="gray">
          <a:xfrm>
            <a:off x="6192838" y="3292536"/>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bwMode="gray">
          <a:xfrm>
            <a:off x="6192838" y="3805133"/>
            <a:ext cx="5618162" cy="242597"/>
          </a:xfrm>
        </p:spPr>
        <p:txBody>
          <a:bodyPr/>
          <a:lstStyle>
            <a:lvl1pPr marL="719138" indent="-719138">
              <a:buFont typeface="+mj-lt"/>
              <a:buAutoNum type="arabicPeriod" startAt="4"/>
              <a:defRPr>
                <a:solidFill>
                  <a:schemeClr val="bg1"/>
                </a:solidFill>
                <a:latin typeface="+mj-lt"/>
              </a:defRPr>
            </a:lvl1pPr>
          </a:lstStyle>
          <a:p>
            <a:pPr lvl="0"/>
            <a:r>
              <a:rPr lang="en-US" noProof="0"/>
              <a:t>Chapter</a:t>
            </a:r>
            <a:endParaRPr lang="en-US" noProof="0" dirty="0"/>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bwMode="gray">
          <a:xfrm>
            <a:off x="6192838" y="4047730"/>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bwMode="gray">
          <a:xfrm>
            <a:off x="6192838" y="4560327"/>
            <a:ext cx="5618162" cy="242597"/>
          </a:xfrm>
        </p:spPr>
        <p:txBody>
          <a:bodyPr/>
          <a:lstStyle>
            <a:lvl1pPr marL="719138" indent="-719138">
              <a:buFont typeface="+mj-lt"/>
              <a:buAutoNum type="arabicPeriod" startAt="5"/>
              <a:defRPr>
                <a:solidFill>
                  <a:schemeClr val="bg1"/>
                </a:solidFill>
                <a:latin typeface="+mj-lt"/>
              </a:defRPr>
            </a:lvl1pPr>
          </a:lstStyle>
          <a:p>
            <a:pPr lvl="0"/>
            <a:r>
              <a:rPr lang="en-US" noProof="0" dirty="0"/>
              <a:t>Chapter</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bwMode="gray">
          <a:xfrm>
            <a:off x="6192838" y="4802924"/>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18" name="Slide Number Placeholder 17">
            <a:extLst>
              <a:ext uri="{FF2B5EF4-FFF2-40B4-BE49-F238E27FC236}">
                <a16:creationId xmlns:a16="http://schemas.microsoft.com/office/drawing/2014/main" id="{6407C056-CAD0-B286-16CA-B99087D934F1}"/>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dirty="0"/>
          </a:p>
        </p:txBody>
      </p:sp>
    </p:spTree>
    <p:extLst>
      <p:ext uri="{BB962C8B-B14F-4D97-AF65-F5344CB8AC3E}">
        <p14:creationId xmlns:p14="http://schemas.microsoft.com/office/powerpoint/2010/main" val="3587291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6080299-1817-12FB-A86B-4D3E7893E6E0}"/>
              </a:ext>
            </a:extLst>
          </p:cNvPr>
          <p:cNvGraphicFramePr>
            <a:graphicFrameLocks noChangeAspect="1"/>
          </p:cNvGraphicFramePr>
          <p:nvPr>
            <p:custDataLst>
              <p:tags r:id="rId1"/>
            </p:custDataLst>
            <p:extLst>
              <p:ext uri="{D42A27DB-BD31-4B8C-83A1-F6EECF244321}">
                <p14:modId xmlns:p14="http://schemas.microsoft.com/office/powerpoint/2010/main" val="198280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6080299-1817-12FB-A86B-4D3E7893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AC1BE5B5-1A15-90B2-BA28-19B882E5C163}"/>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a:t>Agenda</a:t>
            </a:r>
            <a:endParaRPr lang="en-US" noProof="0" dirty="0"/>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bwMode="gray">
          <a:xfrm>
            <a:off x="4260850" y="1539550"/>
            <a:ext cx="3676650" cy="242597"/>
          </a:xfrm>
        </p:spPr>
        <p:txBody>
          <a:bodyPr/>
          <a:lstStyle>
            <a:lvl1pPr marL="719138" indent="-719138">
              <a:buFont typeface="+mj-lt"/>
              <a:buAutoNum type="arabicPeriod"/>
              <a:defRPr>
                <a:solidFill>
                  <a:schemeClr val="bg1"/>
                </a:solidFill>
                <a:latin typeface="+mj-lt"/>
              </a:defRPr>
            </a:lvl1pPr>
          </a:lstStyle>
          <a:p>
            <a:pPr lvl="0"/>
            <a:r>
              <a:rPr lang="en-US" noProof="0"/>
              <a:t>Chapter</a:t>
            </a:r>
            <a:endParaRPr lang="en-US" noProof="0" dirty="0"/>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bwMode="gray">
          <a:xfrm>
            <a:off x="4260850" y="1782148"/>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bwMode="gray">
          <a:xfrm>
            <a:off x="4260850" y="2294745"/>
            <a:ext cx="3676650" cy="242597"/>
          </a:xfrm>
        </p:spPr>
        <p:txBody>
          <a:bodyPr/>
          <a:lstStyle>
            <a:lvl1pPr marL="719138" indent="-719138">
              <a:buFont typeface="+mj-lt"/>
              <a:buAutoNum type="arabicPeriod" startAt="2"/>
              <a:defRPr>
                <a:solidFill>
                  <a:schemeClr val="bg1"/>
                </a:solidFill>
                <a:latin typeface="+mj-lt"/>
              </a:defRPr>
            </a:lvl1pPr>
          </a:lstStyle>
          <a:p>
            <a:pPr lvl="0"/>
            <a:r>
              <a:rPr lang="en-US" noProof="0"/>
              <a:t>Chapter</a:t>
            </a:r>
            <a:endParaRPr lang="en-US" noProof="0" dirty="0"/>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bwMode="gray">
          <a:xfrm>
            <a:off x="4260850" y="2537342"/>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bwMode="gray">
          <a:xfrm>
            <a:off x="4260850" y="3049939"/>
            <a:ext cx="3676650" cy="242597"/>
          </a:xfrm>
        </p:spPr>
        <p:txBody>
          <a:bodyPr/>
          <a:lstStyle>
            <a:lvl1pPr marL="719138" indent="-719138">
              <a:buFont typeface="+mj-lt"/>
              <a:buAutoNum type="arabicPeriod" startAt="3"/>
              <a:defRPr>
                <a:solidFill>
                  <a:schemeClr val="bg1"/>
                </a:solidFill>
                <a:latin typeface="+mj-lt"/>
              </a:defRPr>
            </a:lvl1pPr>
          </a:lstStyle>
          <a:p>
            <a:pPr lvl="0"/>
            <a:r>
              <a:rPr lang="en-US" noProof="0"/>
              <a:t>Chapter</a:t>
            </a:r>
            <a:endParaRPr lang="en-US" noProof="0" dirty="0"/>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bwMode="gray">
          <a:xfrm>
            <a:off x="4260850" y="3292536"/>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bwMode="gray">
          <a:xfrm>
            <a:off x="4260850" y="3805133"/>
            <a:ext cx="3676650" cy="242597"/>
          </a:xfrm>
        </p:spPr>
        <p:txBody>
          <a:bodyPr/>
          <a:lstStyle>
            <a:lvl1pPr marL="719138" indent="-719138">
              <a:buFont typeface="+mj-lt"/>
              <a:buAutoNum type="arabicPeriod" startAt="4"/>
              <a:defRPr>
                <a:solidFill>
                  <a:schemeClr val="bg1"/>
                </a:solidFill>
                <a:latin typeface="+mj-lt"/>
              </a:defRPr>
            </a:lvl1pPr>
          </a:lstStyle>
          <a:p>
            <a:pPr lvl="0"/>
            <a:r>
              <a:rPr lang="en-US" noProof="0"/>
              <a:t>Chapter</a:t>
            </a:r>
            <a:endParaRPr lang="en-US" noProof="0" dirty="0"/>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bwMode="gray">
          <a:xfrm>
            <a:off x="4260850" y="4047730"/>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bwMode="gray">
          <a:xfrm>
            <a:off x="4260850" y="4560327"/>
            <a:ext cx="3676650" cy="242597"/>
          </a:xfrm>
        </p:spPr>
        <p:txBody>
          <a:bodyPr/>
          <a:lstStyle>
            <a:lvl1pPr marL="719138" indent="-719138">
              <a:buFont typeface="+mj-lt"/>
              <a:buAutoNum type="arabicPeriod" startAt="5"/>
              <a:defRPr>
                <a:solidFill>
                  <a:schemeClr val="bg1"/>
                </a:solidFill>
                <a:latin typeface="+mj-lt"/>
              </a:defRPr>
            </a:lvl1pPr>
          </a:lstStyle>
          <a:p>
            <a:pPr lvl="0"/>
            <a:r>
              <a:rPr lang="en-US" noProof="0"/>
              <a:t>Chapter</a:t>
            </a:r>
            <a:endParaRPr lang="en-US" noProof="0" dirty="0"/>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bwMode="gray">
          <a:xfrm>
            <a:off x="4260850" y="4802924"/>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bwMode="gray">
          <a:xfrm>
            <a:off x="8135938" y="1527175"/>
            <a:ext cx="3676650" cy="242597"/>
          </a:xfrm>
        </p:spPr>
        <p:txBody>
          <a:bodyPr/>
          <a:lstStyle>
            <a:lvl1pPr marL="719138" indent="-719138">
              <a:buFont typeface="+mj-lt"/>
              <a:buAutoNum type="arabicPeriod" startAt="6"/>
              <a:defRPr>
                <a:solidFill>
                  <a:schemeClr val="bg1"/>
                </a:solidFill>
                <a:latin typeface="+mj-lt"/>
              </a:defRPr>
            </a:lvl1pPr>
          </a:lstStyle>
          <a:p>
            <a:pPr lvl="0"/>
            <a:r>
              <a:rPr lang="en-US" noProof="0"/>
              <a:t>Chapter</a:t>
            </a:r>
            <a:endParaRPr lang="en-US" noProof="0" dirty="0"/>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bwMode="gray">
          <a:xfrm>
            <a:off x="8135938" y="1769773"/>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bwMode="gray">
          <a:xfrm>
            <a:off x="8135938" y="2282370"/>
            <a:ext cx="3676650" cy="242597"/>
          </a:xfrm>
        </p:spPr>
        <p:txBody>
          <a:bodyPr/>
          <a:lstStyle>
            <a:lvl1pPr marL="719138" indent="-719138">
              <a:buFont typeface="+mj-lt"/>
              <a:buAutoNum type="arabicPeriod" startAt="7"/>
              <a:defRPr>
                <a:solidFill>
                  <a:schemeClr val="bg1"/>
                </a:solidFill>
                <a:latin typeface="+mj-lt"/>
              </a:defRPr>
            </a:lvl1pPr>
          </a:lstStyle>
          <a:p>
            <a:pPr lvl="0"/>
            <a:r>
              <a:rPr lang="en-US" noProof="0"/>
              <a:t>Chapter</a:t>
            </a:r>
            <a:endParaRPr lang="en-US" noProof="0" dirty="0"/>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bwMode="gray">
          <a:xfrm>
            <a:off x="8135938" y="2524967"/>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bwMode="gray">
          <a:xfrm>
            <a:off x="8135938" y="3037564"/>
            <a:ext cx="3676650" cy="242597"/>
          </a:xfrm>
        </p:spPr>
        <p:txBody>
          <a:bodyPr/>
          <a:lstStyle>
            <a:lvl1pPr marL="719138" indent="-719138">
              <a:buFont typeface="+mj-lt"/>
              <a:buAutoNum type="arabicPeriod" startAt="8"/>
              <a:defRPr>
                <a:solidFill>
                  <a:schemeClr val="bg1"/>
                </a:solidFill>
                <a:latin typeface="+mj-lt"/>
              </a:defRPr>
            </a:lvl1pPr>
          </a:lstStyle>
          <a:p>
            <a:pPr lvl="0"/>
            <a:r>
              <a:rPr lang="en-US" noProof="0"/>
              <a:t>Chapter</a:t>
            </a:r>
            <a:endParaRPr lang="en-US" noProof="0" dirty="0"/>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bwMode="gray">
          <a:xfrm>
            <a:off x="8135938" y="3280161"/>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bwMode="gray">
          <a:xfrm>
            <a:off x="8135938" y="3792758"/>
            <a:ext cx="3676650" cy="242597"/>
          </a:xfrm>
        </p:spPr>
        <p:txBody>
          <a:bodyPr/>
          <a:lstStyle>
            <a:lvl1pPr marL="719138" indent="-719138">
              <a:buFont typeface="+mj-lt"/>
              <a:buAutoNum type="arabicPeriod" startAt="9"/>
              <a:defRPr>
                <a:solidFill>
                  <a:schemeClr val="bg1"/>
                </a:solidFill>
                <a:latin typeface="+mj-lt"/>
              </a:defRPr>
            </a:lvl1pPr>
          </a:lstStyle>
          <a:p>
            <a:pPr lvl="0"/>
            <a:r>
              <a:rPr lang="en-US" noProof="0"/>
              <a:t>Chapter</a:t>
            </a:r>
            <a:endParaRPr lang="en-US" noProof="0" dirty="0"/>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bwMode="gray">
          <a:xfrm>
            <a:off x="8135938" y="4035355"/>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bwMode="gray">
          <a:xfrm>
            <a:off x="8135938" y="4547952"/>
            <a:ext cx="3676650" cy="242597"/>
          </a:xfrm>
        </p:spPr>
        <p:txBody>
          <a:bodyPr/>
          <a:lstStyle>
            <a:lvl1pPr marL="719138" indent="-719138">
              <a:buFont typeface="+mj-lt"/>
              <a:buAutoNum type="arabicPeriod" startAt="10"/>
              <a:defRPr>
                <a:solidFill>
                  <a:schemeClr val="bg1"/>
                </a:solidFill>
                <a:latin typeface="+mj-lt"/>
              </a:defRPr>
            </a:lvl1pPr>
          </a:lstStyle>
          <a:p>
            <a:pPr lvl="0"/>
            <a:r>
              <a:rPr lang="en-US" noProof="0"/>
              <a:t>Chapter</a:t>
            </a:r>
            <a:endParaRPr lang="en-US" noProof="0" dirty="0"/>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bwMode="gray">
          <a:xfrm>
            <a:off x="8135938" y="4790549"/>
            <a:ext cx="3676650" cy="242597"/>
          </a:xfrm>
        </p:spPr>
        <p:txBody>
          <a:bodyPr tIns="36000"/>
          <a:lstStyle>
            <a:lvl1pPr marL="719138" indent="0">
              <a:buNone/>
              <a:defRPr>
                <a:solidFill>
                  <a:schemeClr val="bg1"/>
                </a:solidFill>
              </a:defRPr>
            </a:lvl1pPr>
          </a:lstStyle>
          <a:p>
            <a:pPr lvl="0"/>
            <a:r>
              <a:rPr lang="en-US" noProof="0"/>
              <a:t>Lorem</a:t>
            </a:r>
            <a:endParaRPr lang="en-US" noProof="0" dirty="0"/>
          </a:p>
        </p:txBody>
      </p:sp>
      <p:grpSp>
        <p:nvGrpSpPr>
          <p:cNvPr id="17" name="object 8">
            <a:extLst>
              <a:ext uri="{FF2B5EF4-FFF2-40B4-BE49-F238E27FC236}">
                <a16:creationId xmlns:a16="http://schemas.microsoft.com/office/drawing/2014/main" id="{2E908EBE-F967-9329-81E9-7B810613DF6B}"/>
              </a:ext>
            </a:extLst>
          </p:cNvPr>
          <p:cNvGrpSpPr/>
          <p:nvPr/>
        </p:nvGrpSpPr>
        <p:grpSpPr bwMode="gray">
          <a:xfrm>
            <a:off x="11523000" y="6201700"/>
            <a:ext cx="288000" cy="288000"/>
            <a:chOff x="18934851" y="10156759"/>
            <a:chExt cx="523875" cy="523875"/>
          </a:xfrm>
        </p:grpSpPr>
        <p:sp>
          <p:nvSpPr>
            <p:cNvPr id="18" name="object 9">
              <a:extLst>
                <a:ext uri="{FF2B5EF4-FFF2-40B4-BE49-F238E27FC236}">
                  <a16:creationId xmlns:a16="http://schemas.microsoft.com/office/drawing/2014/main" id="{E6569D25-8AEC-3A3B-9D43-C79D52E65E60}"/>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20" name="object 10">
              <a:extLst>
                <a:ext uri="{FF2B5EF4-FFF2-40B4-BE49-F238E27FC236}">
                  <a16:creationId xmlns:a16="http://schemas.microsoft.com/office/drawing/2014/main" id="{DC0F6B6E-DF3D-1D03-C385-8931E5EE74A7}"/>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21" name="object 11">
              <a:extLst>
                <a:ext uri="{FF2B5EF4-FFF2-40B4-BE49-F238E27FC236}">
                  <a16:creationId xmlns:a16="http://schemas.microsoft.com/office/drawing/2014/main" id="{0F50C465-C6CC-2CC9-89CE-2CE2665CF6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5" name="Slide Number Placeholder 34">
            <a:extLst>
              <a:ext uri="{FF2B5EF4-FFF2-40B4-BE49-F238E27FC236}">
                <a16:creationId xmlns:a16="http://schemas.microsoft.com/office/drawing/2014/main" id="{B7A8E120-4E47-7B44-3928-C0B3DD718E86}"/>
              </a:ext>
            </a:extLst>
          </p:cNvPr>
          <p:cNvSpPr>
            <a:spLocks noGrp="1"/>
          </p:cNvSpPr>
          <p:nvPr>
            <p:ph type="sldNum" sz="quarter" idx="37"/>
          </p:nvPr>
        </p:nvSpPr>
        <p:spPr bwMode="gray"/>
        <p:txBody>
          <a:bodyPr/>
          <a:lstStyle/>
          <a:p>
            <a:fld id="{A115CDC9-74CB-4F6C-8CD3-A6C89F254EE7}" type="slidenum">
              <a:rPr lang="en-US" noProof="0" smtClean="0"/>
              <a:pPr/>
              <a:t>‹#›</a:t>
            </a:fld>
            <a:endParaRPr lang="en-US" noProof="0" dirty="0"/>
          </a:p>
        </p:txBody>
      </p:sp>
      <p:sp>
        <p:nvSpPr>
          <p:cNvPr id="8" name="Bildplatzhalter 19">
            <a:extLst>
              <a:ext uri="{FF2B5EF4-FFF2-40B4-BE49-F238E27FC236}">
                <a16:creationId xmlns:a16="http://schemas.microsoft.com/office/drawing/2014/main" id="{996F1058-D187-C1F3-64A8-41B5EEC558F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Tree>
    <p:extLst>
      <p:ext uri="{BB962C8B-B14F-4D97-AF65-F5344CB8AC3E}">
        <p14:creationId xmlns:p14="http://schemas.microsoft.com/office/powerpoint/2010/main" val="5867690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pt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A78EA-4C46-8D4F-3BA9-C08C27C30F98}"/>
              </a:ext>
            </a:extLst>
          </p:cNvPr>
          <p:cNvGraphicFramePr>
            <a:graphicFrameLocks noChangeAspect="1"/>
          </p:cNvGraphicFramePr>
          <p:nvPr>
            <p:custDataLst>
              <p:tags r:id="rId1"/>
            </p:custDataLst>
            <p:extLst>
              <p:ext uri="{D42A27DB-BD31-4B8C-83A1-F6EECF244321}">
                <p14:modId xmlns:p14="http://schemas.microsoft.com/office/powerpoint/2010/main" val="66187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581A78EA-4C46-8D4F-3BA9-C08C27C30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8">
            <a:extLst>
              <a:ext uri="{FF2B5EF4-FFF2-40B4-BE49-F238E27FC236}">
                <a16:creationId xmlns:a16="http://schemas.microsoft.com/office/drawing/2014/main" id="{804906D1-5671-CF95-96D1-F6820AB621A2}"/>
              </a:ext>
            </a:extLst>
          </p:cNvPr>
          <p:cNvSpPr>
            <a:spLocks noGrp="1"/>
          </p:cNvSpPr>
          <p:nvPr>
            <p:ph type="pic" sz="quarter" idx="14" hasCustomPrompt="1"/>
          </p:nvPr>
        </p:nvSpPr>
        <p:spPr bwMode="gray">
          <a:xfrm>
            <a:off x="0" y="1"/>
            <a:ext cx="12192000" cy="6858000"/>
          </a:xfrm>
          <a:solidFill>
            <a:schemeClr val="bg1"/>
          </a:solidFill>
        </p:spPr>
        <p:txBody>
          <a:bodyPr/>
          <a:lstStyle/>
          <a:p>
            <a:r>
              <a:rPr lang="en-US" noProof="0" dirty="0"/>
              <a:t>Add image by clicking on icon and set image in background</a:t>
            </a:r>
            <a:endParaRPr lang="en-GB" noProof="0" dirty="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5123" y="1180800"/>
            <a:ext cx="1582727" cy="1760691"/>
          </a:xfrm>
        </p:spPr>
        <p:txBody>
          <a:bodyPr vert="horz">
            <a:noAutofit/>
          </a:bodyPr>
          <a:lstStyle>
            <a:lvl1pPr>
              <a:defRPr sz="14000">
                <a:solidFill>
                  <a:schemeClr val="tx2"/>
                </a:solidFill>
                <a:latin typeface="+mn-lt"/>
              </a:defRPr>
            </a:lvl1pPr>
          </a:lstStyle>
          <a:p>
            <a:r>
              <a:rPr lang="en-US" noProof="0" dirty="0"/>
              <a:t>1</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5224682" y="1159518"/>
            <a:ext cx="5606831" cy="1662947"/>
          </a:xfrm>
        </p:spPr>
        <p:txBody>
          <a:bodyPr anchor="b" anchorCtr="0">
            <a:noAutofit/>
          </a:bodyPr>
          <a:lstStyle>
            <a:lvl1pPr marL="0" indent="0">
              <a:lnSpc>
                <a:spcPct val="90000"/>
              </a:lnSpc>
              <a:buFontTx/>
              <a:buNone/>
              <a:defRPr sz="4000">
                <a:solidFill>
                  <a:schemeClr val="tx2"/>
                </a:solidFill>
                <a:latin typeface="+mj-lt"/>
              </a:defRPr>
            </a:lvl1pPr>
            <a:lvl6pPr>
              <a:defRPr sz="2000">
                <a:solidFill>
                  <a:schemeClr val="bg1"/>
                </a:solidFill>
                <a:latin typeface="+mj-lt"/>
              </a:defRPr>
            </a:lvl6pPr>
          </a:lstStyle>
          <a:p>
            <a:pPr lvl="0"/>
            <a:r>
              <a:rPr lang="en-US" noProof="0" dirty="0"/>
              <a:t>Chapter heading</a:t>
            </a:r>
          </a:p>
        </p:txBody>
      </p:sp>
      <p:sp>
        <p:nvSpPr>
          <p:cNvPr id="13" name="Textplatzhalter 12">
            <a:extLst>
              <a:ext uri="{FF2B5EF4-FFF2-40B4-BE49-F238E27FC236}">
                <a16:creationId xmlns:a16="http://schemas.microsoft.com/office/drawing/2014/main" id="{C9A78DCD-CA90-CB5B-DB87-B59699DA0508}"/>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tx2"/>
                </a:solidFill>
              </a:defRPr>
            </a:lvl1pPr>
          </a:lstStyle>
          <a:p>
            <a:pPr lvl="0"/>
            <a:r>
              <a:rPr lang="en-US" noProof="0" dirty="0"/>
              <a:t>Lorem Ipsum Dolore </a:t>
            </a:r>
            <a:r>
              <a:rPr lang="en-US" noProof="0" dirty="0" err="1"/>
              <a:t>esse</a:t>
            </a:r>
            <a:r>
              <a:rPr lang="en-US" noProof="0" dirty="0"/>
              <a:t> Sid</a:t>
            </a:r>
          </a:p>
          <a:p>
            <a:pPr lvl="0"/>
            <a:r>
              <a:rPr lang="en-US" noProof="0" dirty="0"/>
              <a:t>Lorem Ipsum Dolore </a:t>
            </a:r>
            <a:r>
              <a:rPr lang="en-US" noProof="0" dirty="0" err="1"/>
              <a:t>esse</a:t>
            </a:r>
            <a:r>
              <a:rPr lang="en-US" noProof="0" dirty="0"/>
              <a:t> Sid</a:t>
            </a:r>
            <a:br>
              <a:rPr lang="en-US" noProof="0" dirty="0"/>
            </a:br>
            <a:endParaRPr lang="en-US" noProof="0" dirty="0"/>
          </a:p>
        </p:txBody>
      </p:sp>
      <p:sp>
        <p:nvSpPr>
          <p:cNvPr id="5" name="Text Placeholder 7">
            <a:extLst>
              <a:ext uri="{FF2B5EF4-FFF2-40B4-BE49-F238E27FC236}">
                <a16:creationId xmlns:a16="http://schemas.microsoft.com/office/drawing/2014/main" id="{1DAFBBA3-4019-5537-807D-D6B6C9FC3399}"/>
              </a:ext>
            </a:extLst>
          </p:cNvPr>
          <p:cNvSpPr>
            <a:spLocks noGrp="1"/>
          </p:cNvSpPr>
          <p:nvPr>
            <p:ph type="body" sz="quarter" idx="35" hasCustomPrompt="1"/>
          </p:nvPr>
        </p:nvSpPr>
        <p:spPr>
          <a:xfrm>
            <a:off x="11523000" y="6201700"/>
            <a:ext cx="288000" cy="288000"/>
          </a:xfrm>
          <a:blipFill>
            <a:blip r:embed="rId5"/>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3732773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hapter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89BA70-C2AB-9B67-33C8-4A42E35130E1}"/>
              </a:ext>
            </a:extLst>
          </p:cNvPr>
          <p:cNvGraphicFramePr>
            <a:graphicFrameLocks noChangeAspect="1"/>
          </p:cNvGraphicFramePr>
          <p:nvPr>
            <p:custDataLst>
              <p:tags r:id="rId1"/>
            </p:custDataLst>
            <p:extLst>
              <p:ext uri="{D42A27DB-BD31-4B8C-83A1-F6EECF244321}">
                <p14:modId xmlns:p14="http://schemas.microsoft.com/office/powerpoint/2010/main" val="172314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5" name="Object 4" hidden="1">
                        <a:extLst>
                          <a:ext uri="{FF2B5EF4-FFF2-40B4-BE49-F238E27FC236}">
                            <a16:creationId xmlns:a16="http://schemas.microsoft.com/office/drawing/2014/main" id="{FE89BA70-C2AB-9B67-33C8-4A42E3513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EFBA8DA6-FAED-C98B-E05F-320D099996E8}"/>
              </a:ext>
            </a:extLst>
          </p:cNvPr>
          <p:cNvSpPr>
            <a:spLocks noGrp="1"/>
          </p:cNvSpPr>
          <p:nvPr>
            <p:ph type="pic" sz="quarter" idx="14" hasCustomPrompt="1"/>
          </p:nvPr>
        </p:nvSpPr>
        <p:spPr bwMode="gray">
          <a:xfrm>
            <a:off x="0" y="1"/>
            <a:ext cx="12192000" cy="6858000"/>
          </a:xfrm>
          <a:noFill/>
        </p:spPr>
        <p:txBody>
          <a:bodyPr/>
          <a:lstStyle/>
          <a:p>
            <a:r>
              <a:rPr lang="en-US" noProof="0" dirty="0"/>
              <a:t>Add image by clicking on icon and set image in background</a:t>
            </a:r>
            <a:endParaRPr lang="en-GB" noProof="0" dirty="0"/>
          </a:p>
          <a:p>
            <a:endParaRPr lang="en-GB" noProof="0" dirty="0"/>
          </a:p>
        </p:txBody>
      </p:sp>
      <p:sp>
        <p:nvSpPr>
          <p:cNvPr id="2" name="Textplatzhalter 13">
            <a:extLst>
              <a:ext uri="{FF2B5EF4-FFF2-40B4-BE49-F238E27FC236}">
                <a16:creationId xmlns:a16="http://schemas.microsoft.com/office/drawing/2014/main" id="{4DB97531-A006-85B1-9028-667488C84C6B}"/>
              </a:ext>
            </a:extLst>
          </p:cNvPr>
          <p:cNvSpPr>
            <a:spLocks noGrp="1"/>
          </p:cNvSpPr>
          <p:nvPr>
            <p:ph type="body" sz="quarter" idx="10" hasCustomPrompt="1"/>
          </p:nvPr>
        </p:nvSpPr>
        <p:spPr bwMode="gray">
          <a:xfrm>
            <a:off x="5224682" y="1159518"/>
            <a:ext cx="5606831" cy="1662947"/>
          </a:xfrm>
          <a:noFill/>
        </p:spPr>
        <p:txBody>
          <a:bodyPr anchor="b" anchorCtr="0">
            <a:noAutofit/>
          </a:bodyPr>
          <a:lstStyle>
            <a:lvl1pPr marL="0" indent="0">
              <a:lnSpc>
                <a:spcPct val="90000"/>
              </a:lnSpc>
              <a:buFontTx/>
              <a:buNone/>
              <a:defRPr sz="4000">
                <a:solidFill>
                  <a:schemeClr val="bg1"/>
                </a:solidFill>
                <a:latin typeface="+mj-lt"/>
              </a:defRPr>
            </a:lvl1pPr>
            <a:lvl6pPr>
              <a:defRPr sz="2000">
                <a:solidFill>
                  <a:schemeClr val="bg1"/>
                </a:solidFill>
                <a:latin typeface="+mj-lt"/>
              </a:defRPr>
            </a:lvl6pPr>
          </a:lstStyle>
          <a:p>
            <a:pPr lvl="0"/>
            <a:r>
              <a:rPr lang="en-US" noProof="0" dirty="0"/>
              <a:t>Chapter heading</a:t>
            </a:r>
          </a:p>
        </p:txBody>
      </p:sp>
      <p:sp>
        <p:nvSpPr>
          <p:cNvPr id="3" name="Textplatzhalter 12">
            <a:extLst>
              <a:ext uri="{FF2B5EF4-FFF2-40B4-BE49-F238E27FC236}">
                <a16:creationId xmlns:a16="http://schemas.microsoft.com/office/drawing/2014/main" id="{39993FEF-8F94-0E94-4556-4B8D8E28D1E2}"/>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bg1"/>
                </a:solidFill>
              </a:defRPr>
            </a:lvl1pPr>
          </a:lstStyle>
          <a:p>
            <a:pPr lvl="0"/>
            <a:r>
              <a:rPr lang="en-US" noProof="0" dirty="0"/>
              <a:t>Lorem Ipsum Dolore </a:t>
            </a:r>
            <a:r>
              <a:rPr lang="en-US" noProof="0" dirty="0" err="1"/>
              <a:t>esse</a:t>
            </a:r>
            <a:r>
              <a:rPr lang="en-US" noProof="0" dirty="0"/>
              <a:t> Sid</a:t>
            </a:r>
          </a:p>
          <a:p>
            <a:pPr lvl="0"/>
            <a:r>
              <a:rPr lang="en-US" noProof="0" dirty="0"/>
              <a:t>Lorem Ipsum Dolore </a:t>
            </a:r>
            <a:r>
              <a:rPr lang="en-US" noProof="0" dirty="0" err="1"/>
              <a:t>esse</a:t>
            </a:r>
            <a:r>
              <a:rPr lang="en-US" noProof="0" dirty="0"/>
              <a:t> Sid</a:t>
            </a:r>
          </a:p>
        </p:txBody>
      </p:sp>
      <p:sp>
        <p:nvSpPr>
          <p:cNvPr id="4" name="Text Placeholder 9">
            <a:extLst>
              <a:ext uri="{FF2B5EF4-FFF2-40B4-BE49-F238E27FC236}">
                <a16:creationId xmlns:a16="http://schemas.microsoft.com/office/drawing/2014/main" id="{316E74F7-231F-FE02-2B8C-B320AAF8A139}"/>
              </a:ext>
            </a:extLst>
          </p:cNvPr>
          <p:cNvSpPr>
            <a:spLocks noGrp="1"/>
          </p:cNvSpPr>
          <p:nvPr>
            <p:ph type="body" sz="quarter" idx="19" hasCustomPrompt="1"/>
          </p:nvPr>
        </p:nvSpPr>
        <p:spPr>
          <a:xfrm>
            <a:off x="11523000" y="6201700"/>
            <a:ext cx="288000" cy="2880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de-DE" dirty="0"/>
              <a:t> </a:t>
            </a:r>
            <a:endParaRPr lang="en-US" dirty="0"/>
          </a:p>
        </p:txBody>
      </p:sp>
      <p:sp>
        <p:nvSpPr>
          <p:cNvPr id="22" name="Titel 11">
            <a:extLst>
              <a:ext uri="{FF2B5EF4-FFF2-40B4-BE49-F238E27FC236}">
                <a16:creationId xmlns:a16="http://schemas.microsoft.com/office/drawing/2014/main" id="{91832271-2CDD-6DF6-A19A-0B91A3EC737D}"/>
              </a:ext>
            </a:extLst>
          </p:cNvPr>
          <p:cNvSpPr>
            <a:spLocks noGrp="1"/>
          </p:cNvSpPr>
          <p:nvPr>
            <p:ph type="title" hasCustomPrompt="1"/>
          </p:nvPr>
        </p:nvSpPr>
        <p:spPr bwMode="gray">
          <a:xfrm>
            <a:off x="385123" y="1180800"/>
            <a:ext cx="1582727" cy="1760691"/>
          </a:xfrm>
        </p:spPr>
        <p:txBody>
          <a:bodyPr vert="horz">
            <a:noAutofit/>
          </a:bodyPr>
          <a:lstStyle>
            <a:lvl1pPr>
              <a:defRPr sz="14000">
                <a:solidFill>
                  <a:schemeClr val="bg1"/>
                </a:solidFill>
                <a:latin typeface="+mn-lt"/>
              </a:defRPr>
            </a:lvl1pPr>
          </a:lstStyle>
          <a:p>
            <a:r>
              <a:rPr lang="en-US" noProof="0" dirty="0"/>
              <a:t>1</a:t>
            </a:r>
          </a:p>
        </p:txBody>
      </p:sp>
    </p:spTree>
    <p:extLst>
      <p:ext uri="{BB962C8B-B14F-4D97-AF65-F5344CB8AC3E}">
        <p14:creationId xmlns:p14="http://schemas.microsoft.com/office/powerpoint/2010/main" val="2476193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ter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D7ECC0-B462-069E-B566-F053D7C7CE96}"/>
              </a:ext>
            </a:extLst>
          </p:cNvPr>
          <p:cNvGraphicFramePr>
            <a:graphicFrameLocks noChangeAspect="1"/>
          </p:cNvGraphicFramePr>
          <p:nvPr>
            <p:custDataLst>
              <p:tags r:id="rId1"/>
            </p:custDataLst>
            <p:extLst>
              <p:ext uri="{D42A27DB-BD31-4B8C-83A1-F6EECF244321}">
                <p14:modId xmlns:p14="http://schemas.microsoft.com/office/powerpoint/2010/main" val="339946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0" name="Object 9" hidden="1">
                        <a:extLst>
                          <a:ext uri="{FF2B5EF4-FFF2-40B4-BE49-F238E27FC236}">
                            <a16:creationId xmlns:a16="http://schemas.microsoft.com/office/drawing/2014/main" id="{E5D7ECC0-B462-069E-B566-F053D7C7C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52AA0B4-4402-05A9-8720-A6B65983B011}"/>
              </a:ext>
            </a:extLst>
          </p:cNvPr>
          <p:cNvSpPr/>
          <p:nvPr/>
        </p:nvSpPr>
        <p:spPr bwMode="gray">
          <a:xfrm>
            <a:off x="0" y="0"/>
            <a:ext cx="12192000" cy="6858000"/>
          </a:xfrm>
          <a:prstGeom prst="rect">
            <a:avLst/>
          </a:prstGeom>
          <a:solidFill>
            <a:srgbClr val="FF6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object 8">
            <a:extLst>
              <a:ext uri="{FF2B5EF4-FFF2-40B4-BE49-F238E27FC236}">
                <a16:creationId xmlns:a16="http://schemas.microsoft.com/office/drawing/2014/main" id="{52ECCF31-69AC-9CEA-C1E4-5708D54FB47E}"/>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B3FF80B-3217-461E-9EED-D73254788616}"/>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6" name="object 10">
              <a:extLst>
                <a:ext uri="{FF2B5EF4-FFF2-40B4-BE49-F238E27FC236}">
                  <a16:creationId xmlns:a16="http://schemas.microsoft.com/office/drawing/2014/main" id="{35DAF4AE-B974-4682-762E-50DC88D418C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7" name="object 11">
              <a:extLst>
                <a:ext uri="{FF2B5EF4-FFF2-40B4-BE49-F238E27FC236}">
                  <a16:creationId xmlns:a16="http://schemas.microsoft.com/office/drawing/2014/main" id="{4901FE11-EBAA-3FAC-777D-B01915CC9B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 name="Textplatzhalter 13">
            <a:extLst>
              <a:ext uri="{FF2B5EF4-FFF2-40B4-BE49-F238E27FC236}">
                <a16:creationId xmlns:a16="http://schemas.microsoft.com/office/drawing/2014/main" id="{56A57B19-DF55-3B48-4FC0-747DE23EA985}"/>
              </a:ext>
            </a:extLst>
          </p:cNvPr>
          <p:cNvSpPr>
            <a:spLocks noGrp="1"/>
          </p:cNvSpPr>
          <p:nvPr>
            <p:ph type="body" sz="quarter" idx="10" hasCustomPrompt="1"/>
          </p:nvPr>
        </p:nvSpPr>
        <p:spPr bwMode="gray">
          <a:xfrm>
            <a:off x="5224682" y="1158245"/>
            <a:ext cx="5606831" cy="1624939"/>
          </a:xfrm>
        </p:spPr>
        <p:txBody>
          <a:bodyPr anchor="b" anchorCtr="0">
            <a:noAutofit/>
          </a:bodyPr>
          <a:lstStyle>
            <a:lvl1pPr marL="0" indent="0">
              <a:lnSpc>
                <a:spcPct val="90000"/>
              </a:lnSpc>
              <a:buFontTx/>
              <a:buNone/>
              <a:defRPr sz="3000">
                <a:solidFill>
                  <a:schemeClr val="bg1"/>
                </a:solidFill>
                <a:latin typeface="+mj-lt"/>
              </a:defRPr>
            </a:lvl1pPr>
            <a:lvl6pPr>
              <a:defRPr sz="2000">
                <a:solidFill>
                  <a:schemeClr val="bg1"/>
                </a:solidFill>
                <a:latin typeface="+mj-lt"/>
              </a:defRPr>
            </a:lvl6pPr>
          </a:lstStyle>
          <a:p>
            <a:pPr lvl="0"/>
            <a:r>
              <a:rPr lang="en-US" noProof="0" dirty="0"/>
              <a:t>Chapter heading</a:t>
            </a:r>
          </a:p>
        </p:txBody>
      </p:sp>
      <p:sp>
        <p:nvSpPr>
          <p:cNvPr id="8" name="Textplatzhalter 12">
            <a:extLst>
              <a:ext uri="{FF2B5EF4-FFF2-40B4-BE49-F238E27FC236}">
                <a16:creationId xmlns:a16="http://schemas.microsoft.com/office/drawing/2014/main" id="{841F7DF6-F856-464C-6B24-0E5D6E8AB70A}"/>
              </a:ext>
            </a:extLst>
          </p:cNvPr>
          <p:cNvSpPr>
            <a:spLocks noGrp="1"/>
          </p:cNvSpPr>
          <p:nvPr>
            <p:ph type="body" sz="quarter" idx="13" hasCustomPrompt="1"/>
          </p:nvPr>
        </p:nvSpPr>
        <p:spPr bwMode="gray">
          <a:xfrm>
            <a:off x="5224463" y="2765377"/>
            <a:ext cx="5607097" cy="2435661"/>
          </a:xfrm>
        </p:spPr>
        <p:txBody>
          <a:bodyPr tIns="360000">
            <a:noAutofit/>
          </a:bodyPr>
          <a:lstStyle>
            <a:lvl1pPr marL="0" indent="0">
              <a:buFontTx/>
              <a:buNone/>
              <a:tabLst>
                <a:tab pos="811213" algn="l"/>
              </a:tabLst>
              <a:defRPr sz="2000">
                <a:solidFill>
                  <a:schemeClr val="bg1"/>
                </a:solidFill>
              </a:defRPr>
            </a:lvl1pPr>
          </a:lstStyle>
          <a:p>
            <a:pPr lvl="0"/>
            <a:r>
              <a:rPr lang="en-US" noProof="0" dirty="0"/>
              <a:t>Lorem Ipsum Dolore </a:t>
            </a:r>
            <a:r>
              <a:rPr lang="en-US" noProof="0" dirty="0" err="1"/>
              <a:t>esse</a:t>
            </a:r>
            <a:r>
              <a:rPr lang="en-US" noProof="0" dirty="0"/>
              <a:t> Sid</a:t>
            </a:r>
            <a:br>
              <a:rPr lang="en-US" noProof="0" dirty="0"/>
            </a:br>
            <a:br>
              <a:rPr lang="en-US" noProof="0" dirty="0"/>
            </a:br>
            <a:endParaRPr lang="en-US" noProof="0" dirty="0"/>
          </a:p>
        </p:txBody>
      </p:sp>
      <p:sp>
        <p:nvSpPr>
          <p:cNvPr id="9" name="Titel 11">
            <a:extLst>
              <a:ext uri="{FF2B5EF4-FFF2-40B4-BE49-F238E27FC236}">
                <a16:creationId xmlns:a16="http://schemas.microsoft.com/office/drawing/2014/main" id="{1843CEE1-6AB3-E361-6310-85AD9D2D1761}"/>
              </a:ext>
            </a:extLst>
          </p:cNvPr>
          <p:cNvSpPr>
            <a:spLocks noGrp="1"/>
          </p:cNvSpPr>
          <p:nvPr>
            <p:ph type="title" hasCustomPrompt="1"/>
          </p:nvPr>
        </p:nvSpPr>
        <p:spPr bwMode="gray">
          <a:xfrm>
            <a:off x="385123" y="1180800"/>
            <a:ext cx="1582727" cy="1760691"/>
          </a:xfrm>
        </p:spPr>
        <p:txBody>
          <a:bodyPr vert="horz">
            <a:noAutofit/>
          </a:bodyPr>
          <a:lstStyle>
            <a:lvl1pPr>
              <a:defRPr sz="14000">
                <a:solidFill>
                  <a:schemeClr val="bg1"/>
                </a:solidFill>
                <a:latin typeface="+mn-lt"/>
              </a:defRPr>
            </a:lvl1pPr>
          </a:lstStyle>
          <a:p>
            <a:r>
              <a:rPr lang="en-US" noProof="0" dirty="0"/>
              <a:t>1</a:t>
            </a:r>
          </a:p>
        </p:txBody>
      </p:sp>
    </p:spTree>
    <p:extLst>
      <p:ext uri="{BB962C8B-B14F-4D97-AF65-F5344CB8AC3E}">
        <p14:creationId xmlns:p14="http://schemas.microsoft.com/office/powerpoint/2010/main" val="3579604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ter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915C72-C121-422E-AB81-634BD98E7B43}"/>
              </a:ext>
            </a:extLst>
          </p:cNvPr>
          <p:cNvGraphicFramePr>
            <a:graphicFrameLocks noChangeAspect="1"/>
          </p:cNvGraphicFramePr>
          <p:nvPr>
            <p:custDataLst>
              <p:tags r:id="rId1"/>
            </p:custDataLst>
            <p:extLst>
              <p:ext uri="{D42A27DB-BD31-4B8C-83A1-F6EECF244321}">
                <p14:modId xmlns:p14="http://schemas.microsoft.com/office/powerpoint/2010/main" val="870670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5B915C72-C121-422E-AB81-634BD98E7B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52AA0B4-4402-05A9-8720-A6B65983B011}"/>
              </a:ext>
            </a:extLst>
          </p:cNvPr>
          <p:cNvSpPr/>
          <p:nvPr/>
        </p:nvSpPr>
        <p:spPr bwMode="gray">
          <a:xfrm>
            <a:off x="0" y="-38100"/>
            <a:ext cx="12192000" cy="6896100"/>
          </a:xfrm>
          <a:prstGeom prst="rect">
            <a:avLst/>
          </a:prstGeom>
          <a:solidFill>
            <a:srgbClr val="F1FF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6896" y="1181672"/>
            <a:ext cx="1582727" cy="1760691"/>
          </a:xfrm>
        </p:spPr>
        <p:txBody>
          <a:bodyPr vert="horz">
            <a:noAutofit/>
          </a:bodyPr>
          <a:lstStyle>
            <a:lvl1pPr>
              <a:defRPr sz="14000">
                <a:solidFill>
                  <a:schemeClr val="tx2"/>
                </a:solidFill>
                <a:latin typeface="+mn-lt"/>
              </a:defRPr>
            </a:lvl1pPr>
          </a:lstStyle>
          <a:p>
            <a:r>
              <a:rPr lang="en-US" noProof="0" dirty="0"/>
              <a:t>2</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5224682" y="1160626"/>
            <a:ext cx="5606831" cy="1624939"/>
          </a:xfrm>
        </p:spPr>
        <p:txBody>
          <a:bodyPr anchor="b" anchorCtr="0">
            <a:noAutofit/>
          </a:bodyPr>
          <a:lstStyle>
            <a:lvl1pPr marL="0" indent="0">
              <a:lnSpc>
                <a:spcPct val="90000"/>
              </a:lnSpc>
              <a:buFontTx/>
              <a:buNone/>
              <a:defRPr sz="3000">
                <a:solidFill>
                  <a:schemeClr val="tx2"/>
                </a:solidFill>
                <a:latin typeface="+mj-lt"/>
              </a:defRPr>
            </a:lvl1pPr>
            <a:lvl6pPr>
              <a:defRPr sz="2000">
                <a:solidFill>
                  <a:schemeClr val="bg1"/>
                </a:solidFill>
                <a:latin typeface="+mj-lt"/>
              </a:defRPr>
            </a:lvl6pPr>
          </a:lstStyle>
          <a:p>
            <a:pPr lvl="0"/>
            <a:r>
              <a:rPr lang="en-US" noProof="0" dirty="0"/>
              <a:t>Chapter heading</a:t>
            </a:r>
          </a:p>
        </p:txBody>
      </p:sp>
      <p:sp>
        <p:nvSpPr>
          <p:cNvPr id="13" name="Textplatzhalter 12">
            <a:extLst>
              <a:ext uri="{FF2B5EF4-FFF2-40B4-BE49-F238E27FC236}">
                <a16:creationId xmlns:a16="http://schemas.microsoft.com/office/drawing/2014/main" id="{C9A78DCD-CA90-CB5B-DB87-B59699DA0508}"/>
              </a:ext>
            </a:extLst>
          </p:cNvPr>
          <p:cNvSpPr>
            <a:spLocks noGrp="1"/>
          </p:cNvSpPr>
          <p:nvPr>
            <p:ph type="body" sz="quarter" idx="13" hasCustomPrompt="1"/>
          </p:nvPr>
        </p:nvSpPr>
        <p:spPr bwMode="gray">
          <a:xfrm>
            <a:off x="5224463" y="2776010"/>
            <a:ext cx="5607097" cy="2435661"/>
          </a:xfrm>
        </p:spPr>
        <p:txBody>
          <a:bodyPr tIns="360000">
            <a:noAutofit/>
          </a:bodyPr>
          <a:lstStyle>
            <a:lvl1pPr marL="0" indent="0">
              <a:buFontTx/>
              <a:buNone/>
              <a:tabLst>
                <a:tab pos="811213" algn="l"/>
              </a:tabLst>
              <a:defRPr sz="2000">
                <a:solidFill>
                  <a:schemeClr val="tx2"/>
                </a:solidFill>
              </a:defRPr>
            </a:lvl1pPr>
          </a:lstStyle>
          <a:p>
            <a:pPr lvl="0"/>
            <a:r>
              <a:rPr lang="en-US" noProof="0" dirty="0"/>
              <a:t>Lorem Ipsum Dolore </a:t>
            </a:r>
            <a:r>
              <a:rPr lang="en-US" noProof="0" dirty="0" err="1"/>
              <a:t>esse</a:t>
            </a:r>
            <a:r>
              <a:rPr lang="en-US" noProof="0" dirty="0"/>
              <a:t> Sid</a:t>
            </a:r>
            <a:br>
              <a:rPr lang="en-US" noProof="0" dirty="0"/>
            </a:br>
            <a:endParaRPr lang="en-US" noProof="0" dirty="0"/>
          </a:p>
          <a:p>
            <a:pPr lvl="0"/>
            <a:br>
              <a:rPr lang="en-US" noProof="0" dirty="0"/>
            </a:br>
            <a:endParaRPr lang="en-US" noProof="0" dirty="0"/>
          </a:p>
        </p:txBody>
      </p:sp>
      <p:pic>
        <p:nvPicPr>
          <p:cNvPr id="3" name="Grafik 2">
            <a:extLst>
              <a:ext uri="{FF2B5EF4-FFF2-40B4-BE49-F238E27FC236}">
                <a16:creationId xmlns:a16="http://schemas.microsoft.com/office/drawing/2014/main" id="{26574AE2-A5BE-053F-1D92-50745E074BBE}"/>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gray">
          <a:xfrm>
            <a:off x="11523000" y="6201700"/>
            <a:ext cx="288000" cy="288000"/>
          </a:xfrm>
          <a:prstGeom prst="rect">
            <a:avLst/>
          </a:prstGeom>
        </p:spPr>
      </p:pic>
    </p:spTree>
    <p:extLst>
      <p:ext uri="{BB962C8B-B14F-4D97-AF65-F5344CB8AC3E}">
        <p14:creationId xmlns:p14="http://schemas.microsoft.com/office/powerpoint/2010/main" val="3402587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25D504-A3C0-2BBB-6C47-2D69B4F8EBB3}"/>
              </a:ext>
            </a:extLst>
          </p:cNvPr>
          <p:cNvGraphicFramePr>
            <a:graphicFrameLocks noChangeAspect="1"/>
          </p:cNvGraphicFramePr>
          <p:nvPr>
            <p:custDataLst>
              <p:tags r:id="rId1"/>
            </p:custDataLst>
            <p:extLst>
              <p:ext uri="{D42A27DB-BD31-4B8C-83A1-F6EECF244321}">
                <p14:modId xmlns:p14="http://schemas.microsoft.com/office/powerpoint/2010/main" val="2202983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5A25D504-A3C0-2BBB-6C47-2D69B4F8E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52AA0B4-4402-05A9-8720-A6B65983B011}"/>
              </a:ext>
            </a:extLst>
          </p:cNvPr>
          <p:cNvSpPr/>
          <p:nvPr/>
        </p:nvSpPr>
        <p:spPr bwMode="gray">
          <a:xfrm>
            <a:off x="0" y="0"/>
            <a:ext cx="12192000" cy="6858000"/>
          </a:xfrm>
          <a:prstGeom prst="rect">
            <a:avLst/>
          </a:prstGeom>
          <a:solidFill>
            <a:srgbClr val="9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6896" y="1180800"/>
            <a:ext cx="1582727" cy="1760691"/>
          </a:xfrm>
        </p:spPr>
        <p:txBody>
          <a:bodyPr vert="horz">
            <a:noAutofit/>
          </a:bodyPr>
          <a:lstStyle>
            <a:lvl1pPr>
              <a:defRPr sz="14000">
                <a:solidFill>
                  <a:schemeClr val="bg1"/>
                </a:solidFill>
                <a:latin typeface="+mn-lt"/>
              </a:defRPr>
            </a:lvl1pPr>
          </a:lstStyle>
          <a:p>
            <a:r>
              <a:rPr lang="en-US" noProof="0" dirty="0"/>
              <a:t>3</a:t>
            </a:r>
          </a:p>
        </p:txBody>
      </p:sp>
      <p:grpSp>
        <p:nvGrpSpPr>
          <p:cNvPr id="4" name="object 8">
            <a:extLst>
              <a:ext uri="{FF2B5EF4-FFF2-40B4-BE49-F238E27FC236}">
                <a16:creationId xmlns:a16="http://schemas.microsoft.com/office/drawing/2014/main" id="{52ECCF31-69AC-9CEA-C1E4-5708D54FB47E}"/>
              </a:ext>
            </a:extLst>
          </p:cNvPr>
          <p:cNvGrpSpPr>
            <a:grpSpLocks noChangeAspect="1"/>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B3FF80B-3217-461E-9EED-D73254788616}"/>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6" name="object 10">
              <a:extLst>
                <a:ext uri="{FF2B5EF4-FFF2-40B4-BE49-F238E27FC236}">
                  <a16:creationId xmlns:a16="http://schemas.microsoft.com/office/drawing/2014/main" id="{35DAF4AE-B974-4682-762E-50DC88D418C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7" name="object 11">
              <a:extLst>
                <a:ext uri="{FF2B5EF4-FFF2-40B4-BE49-F238E27FC236}">
                  <a16:creationId xmlns:a16="http://schemas.microsoft.com/office/drawing/2014/main" id="{4901FE11-EBAA-3FAC-777D-B01915CC9B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 name="Textplatzhalter 13">
            <a:extLst>
              <a:ext uri="{FF2B5EF4-FFF2-40B4-BE49-F238E27FC236}">
                <a16:creationId xmlns:a16="http://schemas.microsoft.com/office/drawing/2014/main" id="{7D99F40B-7539-DB53-B870-9260F13F8C72}"/>
              </a:ext>
            </a:extLst>
          </p:cNvPr>
          <p:cNvSpPr>
            <a:spLocks noGrp="1"/>
          </p:cNvSpPr>
          <p:nvPr>
            <p:ph type="body" sz="quarter" idx="10" hasCustomPrompt="1"/>
          </p:nvPr>
        </p:nvSpPr>
        <p:spPr bwMode="gray">
          <a:xfrm>
            <a:off x="5224682" y="1160626"/>
            <a:ext cx="5606831" cy="1624939"/>
          </a:xfrm>
        </p:spPr>
        <p:txBody>
          <a:bodyPr anchor="b" anchorCtr="0">
            <a:noAutofit/>
          </a:bodyPr>
          <a:lstStyle>
            <a:lvl1pPr marL="0" indent="0">
              <a:lnSpc>
                <a:spcPct val="90000"/>
              </a:lnSpc>
              <a:buFontTx/>
              <a:buNone/>
              <a:defRPr sz="3000">
                <a:solidFill>
                  <a:schemeClr val="bg1"/>
                </a:solidFill>
                <a:latin typeface="+mj-lt"/>
              </a:defRPr>
            </a:lvl1pPr>
            <a:lvl6pPr>
              <a:defRPr sz="2000">
                <a:solidFill>
                  <a:schemeClr val="bg1"/>
                </a:solidFill>
                <a:latin typeface="+mj-lt"/>
              </a:defRPr>
            </a:lvl6pPr>
          </a:lstStyle>
          <a:p>
            <a:pPr lvl="0"/>
            <a:r>
              <a:rPr lang="en-US" noProof="0" dirty="0"/>
              <a:t>Chapter heading</a:t>
            </a:r>
          </a:p>
        </p:txBody>
      </p:sp>
      <p:sp>
        <p:nvSpPr>
          <p:cNvPr id="8" name="Textplatzhalter 12">
            <a:extLst>
              <a:ext uri="{FF2B5EF4-FFF2-40B4-BE49-F238E27FC236}">
                <a16:creationId xmlns:a16="http://schemas.microsoft.com/office/drawing/2014/main" id="{B5097EC2-3C69-AA0E-7FC9-ED45F5D89C62}"/>
              </a:ext>
            </a:extLst>
          </p:cNvPr>
          <p:cNvSpPr>
            <a:spLocks noGrp="1"/>
          </p:cNvSpPr>
          <p:nvPr>
            <p:ph type="body" sz="quarter" idx="13" hasCustomPrompt="1"/>
          </p:nvPr>
        </p:nvSpPr>
        <p:spPr bwMode="gray">
          <a:xfrm>
            <a:off x="5224463" y="2765377"/>
            <a:ext cx="5607097" cy="2435661"/>
          </a:xfrm>
        </p:spPr>
        <p:txBody>
          <a:bodyPr tIns="360000">
            <a:noAutofit/>
          </a:bodyPr>
          <a:lstStyle>
            <a:lvl1pPr marL="0" indent="0">
              <a:buFontTx/>
              <a:buNone/>
              <a:tabLst>
                <a:tab pos="811213" algn="l"/>
              </a:tabLst>
              <a:defRPr sz="2000">
                <a:solidFill>
                  <a:schemeClr val="bg1"/>
                </a:solidFill>
              </a:defRPr>
            </a:lvl1pPr>
          </a:lstStyle>
          <a:p>
            <a:pPr lvl="0"/>
            <a:r>
              <a:rPr lang="en-US" noProof="0" dirty="0"/>
              <a:t>Lorem Ipsum Dolore </a:t>
            </a:r>
            <a:r>
              <a:rPr lang="en-US" noProof="0" dirty="0" err="1"/>
              <a:t>esse</a:t>
            </a:r>
            <a:r>
              <a:rPr lang="en-US" noProof="0" dirty="0"/>
              <a:t> Sid</a:t>
            </a:r>
            <a:br>
              <a:rPr lang="en-US" noProof="0" dirty="0"/>
            </a:br>
            <a:br>
              <a:rPr lang="en-US" noProof="0" dirty="0"/>
            </a:br>
            <a:endParaRPr lang="en-US" noProof="0" dirty="0"/>
          </a:p>
        </p:txBody>
      </p:sp>
    </p:spTree>
    <p:extLst>
      <p:ext uri="{BB962C8B-B14F-4D97-AF65-F5344CB8AC3E}">
        <p14:creationId xmlns:p14="http://schemas.microsoft.com/office/powerpoint/2010/main" val="1021219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77D30B-54C3-8B31-B090-913E717374F6}"/>
              </a:ext>
            </a:extLst>
          </p:cNvPr>
          <p:cNvGraphicFramePr>
            <a:graphicFrameLocks noChangeAspect="1"/>
          </p:cNvGraphicFramePr>
          <p:nvPr>
            <p:custDataLst>
              <p:tags r:id="rId1"/>
            </p:custDataLst>
            <p:extLst>
              <p:ext uri="{D42A27DB-BD31-4B8C-83A1-F6EECF244321}">
                <p14:modId xmlns:p14="http://schemas.microsoft.com/office/powerpoint/2010/main" val="2127797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8577D30B-54C3-8B31-B090-913E71737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52AA0B4-4402-05A9-8720-A6B65983B011}"/>
              </a:ext>
            </a:extLst>
          </p:cNvPr>
          <p:cNvSpPr/>
          <p:nvPr/>
        </p:nvSpPr>
        <p:spPr>
          <a:xfrm>
            <a:off x="0" y="0"/>
            <a:ext cx="12192000" cy="6858000"/>
          </a:xfrm>
          <a:prstGeom prst="rect">
            <a:avLst/>
          </a:prstGeom>
          <a:solidFill>
            <a:srgbClr val="FF0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9740" y="1180800"/>
            <a:ext cx="1582727" cy="1760691"/>
          </a:xfrm>
        </p:spPr>
        <p:txBody>
          <a:bodyPr vert="horz">
            <a:noAutofit/>
          </a:bodyPr>
          <a:lstStyle>
            <a:lvl1pPr>
              <a:defRPr sz="14000">
                <a:solidFill>
                  <a:schemeClr val="bg1"/>
                </a:solidFill>
                <a:latin typeface="+mn-lt"/>
              </a:defRPr>
            </a:lvl1pPr>
          </a:lstStyle>
          <a:p>
            <a:r>
              <a:rPr lang="en-US" noProof="0" dirty="0"/>
              <a:t>4</a:t>
            </a:r>
          </a:p>
        </p:txBody>
      </p:sp>
      <p:grpSp>
        <p:nvGrpSpPr>
          <p:cNvPr id="4" name="object 8">
            <a:extLst>
              <a:ext uri="{FF2B5EF4-FFF2-40B4-BE49-F238E27FC236}">
                <a16:creationId xmlns:a16="http://schemas.microsoft.com/office/drawing/2014/main" id="{52ECCF31-69AC-9CEA-C1E4-5708D54FB47E}"/>
              </a:ext>
            </a:extLst>
          </p:cNvPr>
          <p:cNvGrpSpPr>
            <a:grpSpLocks noChangeAspect="1"/>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B3FF80B-3217-461E-9EED-D73254788616}"/>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6" name="object 10">
              <a:extLst>
                <a:ext uri="{FF2B5EF4-FFF2-40B4-BE49-F238E27FC236}">
                  <a16:creationId xmlns:a16="http://schemas.microsoft.com/office/drawing/2014/main" id="{35DAF4AE-B974-4682-762E-50DC88D418C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7" name="object 11">
              <a:extLst>
                <a:ext uri="{FF2B5EF4-FFF2-40B4-BE49-F238E27FC236}">
                  <a16:creationId xmlns:a16="http://schemas.microsoft.com/office/drawing/2014/main" id="{4901FE11-EBAA-3FAC-777D-B01915CC9B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 name="Textplatzhalter 13">
            <a:extLst>
              <a:ext uri="{FF2B5EF4-FFF2-40B4-BE49-F238E27FC236}">
                <a16:creationId xmlns:a16="http://schemas.microsoft.com/office/drawing/2014/main" id="{464286EB-1890-704B-4A68-92D791945820}"/>
              </a:ext>
            </a:extLst>
          </p:cNvPr>
          <p:cNvSpPr>
            <a:spLocks noGrp="1"/>
          </p:cNvSpPr>
          <p:nvPr>
            <p:ph type="body" sz="quarter" idx="10" hasCustomPrompt="1"/>
          </p:nvPr>
        </p:nvSpPr>
        <p:spPr bwMode="gray">
          <a:xfrm>
            <a:off x="5224682" y="1160626"/>
            <a:ext cx="5606831" cy="1624939"/>
          </a:xfrm>
        </p:spPr>
        <p:txBody>
          <a:bodyPr anchor="b" anchorCtr="0">
            <a:noAutofit/>
          </a:bodyPr>
          <a:lstStyle>
            <a:lvl1pPr marL="0" indent="0">
              <a:lnSpc>
                <a:spcPct val="90000"/>
              </a:lnSpc>
              <a:buFontTx/>
              <a:buNone/>
              <a:defRPr sz="3000">
                <a:solidFill>
                  <a:schemeClr val="bg1"/>
                </a:solidFill>
                <a:latin typeface="+mj-lt"/>
              </a:defRPr>
            </a:lvl1pPr>
            <a:lvl6pPr>
              <a:defRPr sz="2000">
                <a:solidFill>
                  <a:schemeClr val="bg1"/>
                </a:solidFill>
                <a:latin typeface="+mj-lt"/>
              </a:defRPr>
            </a:lvl6pPr>
          </a:lstStyle>
          <a:p>
            <a:pPr lvl="0"/>
            <a:r>
              <a:rPr lang="en-US" noProof="0" dirty="0"/>
              <a:t>Chapter heading</a:t>
            </a:r>
          </a:p>
        </p:txBody>
      </p:sp>
      <p:sp>
        <p:nvSpPr>
          <p:cNvPr id="8" name="Textplatzhalter 12">
            <a:extLst>
              <a:ext uri="{FF2B5EF4-FFF2-40B4-BE49-F238E27FC236}">
                <a16:creationId xmlns:a16="http://schemas.microsoft.com/office/drawing/2014/main" id="{23BE5D43-0812-7FA1-BC57-0EF86E9A8CDE}"/>
              </a:ext>
            </a:extLst>
          </p:cNvPr>
          <p:cNvSpPr>
            <a:spLocks noGrp="1"/>
          </p:cNvSpPr>
          <p:nvPr>
            <p:ph type="body" sz="quarter" idx="13" hasCustomPrompt="1"/>
          </p:nvPr>
        </p:nvSpPr>
        <p:spPr bwMode="gray">
          <a:xfrm>
            <a:off x="5224463" y="2765377"/>
            <a:ext cx="5607097" cy="2435661"/>
          </a:xfrm>
        </p:spPr>
        <p:txBody>
          <a:bodyPr tIns="360000">
            <a:noAutofit/>
          </a:bodyPr>
          <a:lstStyle>
            <a:lvl1pPr marL="0" indent="0">
              <a:buFontTx/>
              <a:buNone/>
              <a:tabLst>
                <a:tab pos="811213" algn="l"/>
              </a:tabLst>
              <a:defRPr sz="2000">
                <a:solidFill>
                  <a:schemeClr val="bg1"/>
                </a:solidFill>
              </a:defRPr>
            </a:lvl1pPr>
          </a:lstStyle>
          <a:p>
            <a:pPr lvl="0"/>
            <a:r>
              <a:rPr lang="en-US" noProof="0" dirty="0"/>
              <a:t>Lorem Ipsum Dolore </a:t>
            </a:r>
            <a:r>
              <a:rPr lang="en-US" noProof="0" dirty="0" err="1"/>
              <a:t>esse</a:t>
            </a:r>
            <a:r>
              <a:rPr lang="en-US" noProof="0" dirty="0"/>
              <a:t> Sid</a:t>
            </a:r>
            <a:br>
              <a:rPr lang="en-US" noProof="0" dirty="0"/>
            </a:br>
            <a:br>
              <a:rPr lang="en-US" noProof="0" dirty="0"/>
            </a:br>
            <a:endParaRPr lang="en-US" noProof="0" dirty="0"/>
          </a:p>
        </p:txBody>
      </p:sp>
    </p:spTree>
    <p:extLst>
      <p:ext uri="{BB962C8B-B14F-4D97-AF65-F5344CB8AC3E}">
        <p14:creationId xmlns:p14="http://schemas.microsoft.com/office/powerpoint/2010/main" val="21906897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688082E-0041-A782-48BF-0372E2E1DB54}"/>
              </a:ext>
            </a:extLst>
          </p:cNvPr>
          <p:cNvSpPr>
            <a:spLocks noGrp="1"/>
          </p:cNvSpPr>
          <p:nvPr>
            <p:ph type="pic" sz="quarter" idx="36"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10" name="Text Placeholder 9">
            <a:extLst>
              <a:ext uri="{FF2B5EF4-FFF2-40B4-BE49-F238E27FC236}">
                <a16:creationId xmlns:a16="http://schemas.microsoft.com/office/drawing/2014/main" id="{1A5A7469-1CDC-3D9B-5A55-EC5263B0209D}"/>
              </a:ext>
            </a:extLst>
          </p:cNvPr>
          <p:cNvSpPr>
            <a:spLocks noGrp="1"/>
          </p:cNvSpPr>
          <p:nvPr>
            <p:ph type="body" sz="quarter" idx="37" hasCustomPrompt="1"/>
          </p:nvPr>
        </p:nvSpPr>
        <p:spPr>
          <a:xfrm>
            <a:off x="382588" y="1920910"/>
            <a:ext cx="8517168" cy="4581037"/>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vl5pPr marL="1616075" indent="0">
              <a:buNone/>
              <a:defRPr/>
            </a:lvl5pPr>
          </a:lstStyle>
          <a:p>
            <a:pPr lvl="0"/>
            <a:r>
              <a:rPr lang="en-GB" dirty="0"/>
              <a:t> </a:t>
            </a:r>
          </a:p>
        </p:txBody>
      </p:sp>
      <p:graphicFrame>
        <p:nvGraphicFramePr>
          <p:cNvPr id="2" name="Object 1" hidden="1">
            <a:extLst>
              <a:ext uri="{FF2B5EF4-FFF2-40B4-BE49-F238E27FC236}">
                <a16:creationId xmlns:a16="http://schemas.microsoft.com/office/drawing/2014/main" id="{4C836B75-95D5-10B9-C762-236304748B5F}"/>
              </a:ext>
            </a:extLst>
          </p:cNvPr>
          <p:cNvGraphicFramePr>
            <a:graphicFrameLocks noChangeAspect="1"/>
          </p:cNvGraphicFramePr>
          <p:nvPr>
            <p:custDataLst>
              <p:tags r:id="rId1"/>
            </p:custDataLst>
            <p:extLst>
              <p:ext uri="{D42A27DB-BD31-4B8C-83A1-F6EECF244321}">
                <p14:modId xmlns:p14="http://schemas.microsoft.com/office/powerpoint/2010/main" val="328645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4C836B75-95D5-10B9-C762-236304748B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el 32">
            <a:extLst>
              <a:ext uri="{FF2B5EF4-FFF2-40B4-BE49-F238E27FC236}">
                <a16:creationId xmlns:a16="http://schemas.microsoft.com/office/drawing/2014/main" id="{D8BF3EE4-385A-D03A-0172-38A912799F38}"/>
              </a:ext>
            </a:extLst>
          </p:cNvPr>
          <p:cNvSpPr>
            <a:spLocks noGrp="1"/>
          </p:cNvSpPr>
          <p:nvPr>
            <p:ph type="title" hasCustomPrompt="1"/>
          </p:nvPr>
        </p:nvSpPr>
        <p:spPr bwMode="gray">
          <a:xfrm>
            <a:off x="773723" y="2615013"/>
            <a:ext cx="7163777" cy="2351437"/>
          </a:xfrm>
        </p:spPr>
        <p:txBody>
          <a:bodyPr vert="horz" anchor="t" anchorCtr="0">
            <a:noAutofit/>
          </a:bodyPr>
          <a:lstStyle>
            <a:lvl1pPr>
              <a:defRPr sz="4000">
                <a:solidFill>
                  <a:schemeClr val="bg1"/>
                </a:solidFill>
              </a:defRPr>
            </a:lvl1pPr>
          </a:lstStyle>
          <a:p>
            <a:r>
              <a:rPr lang="en-US" dirty="0"/>
              <a:t>Presentation title </a:t>
            </a:r>
            <a:br>
              <a:rPr lang="en-US" dirty="0"/>
            </a:br>
            <a:r>
              <a:rPr lang="en-US" dirty="0"/>
              <a:t>lorem ipsum</a:t>
            </a:r>
            <a:endParaRPr lang="en-US" noProof="0" dirty="0"/>
          </a:p>
        </p:txBody>
      </p:sp>
      <p:sp>
        <p:nvSpPr>
          <p:cNvPr id="3" name="Datumsplatzhalter 58">
            <a:extLst>
              <a:ext uri="{FF2B5EF4-FFF2-40B4-BE49-F238E27FC236}">
                <a16:creationId xmlns:a16="http://schemas.microsoft.com/office/drawing/2014/main" id="{97E48789-2B24-2C14-7FB7-FBF6B63CAAEB}"/>
              </a:ext>
            </a:extLst>
          </p:cNvPr>
          <p:cNvSpPr>
            <a:spLocks noGrp="1"/>
          </p:cNvSpPr>
          <p:nvPr>
            <p:ph type="dt" sz="half" idx="18"/>
          </p:nvPr>
        </p:nvSpPr>
        <p:spPr bwMode="gray">
          <a:xfrm>
            <a:off x="773723" y="5903734"/>
            <a:ext cx="7163777" cy="295466"/>
          </a:xfrm>
          <a:prstGeom prst="rect">
            <a:avLst/>
          </a:prstGeom>
        </p:spPr>
        <p:txBody>
          <a:bodyPr>
            <a:spAutoFit/>
          </a:bodyPr>
          <a:lstStyle>
            <a:lvl1pPr>
              <a:defRPr sz="1200">
                <a:solidFill>
                  <a:schemeClr val="bg1"/>
                </a:solidFill>
              </a:defRPr>
            </a:lvl1pPr>
          </a:lstStyle>
          <a:p>
            <a:r>
              <a:rPr lang="en-US" noProof="0"/>
              <a:t>01.23.2023</a:t>
            </a:r>
            <a:endParaRPr lang="en-US" noProof="0" dirty="0"/>
          </a:p>
        </p:txBody>
      </p:sp>
      <p:sp>
        <p:nvSpPr>
          <p:cNvPr id="4" name="Fußzeilenplatzhalter 59">
            <a:extLst>
              <a:ext uri="{FF2B5EF4-FFF2-40B4-BE49-F238E27FC236}">
                <a16:creationId xmlns:a16="http://schemas.microsoft.com/office/drawing/2014/main" id="{5B204CA9-F463-D119-1E79-262C41A493F2}"/>
              </a:ext>
            </a:extLst>
          </p:cNvPr>
          <p:cNvSpPr>
            <a:spLocks noGrp="1"/>
          </p:cNvSpPr>
          <p:nvPr>
            <p:ph type="ftr" sz="quarter" idx="11"/>
          </p:nvPr>
        </p:nvSpPr>
        <p:spPr bwMode="gray">
          <a:xfrm>
            <a:off x="773723" y="5546168"/>
            <a:ext cx="7163777"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
        <p:nvSpPr>
          <p:cNvPr id="6" name="Bildplatzhalter 19">
            <a:extLst>
              <a:ext uri="{FF2B5EF4-FFF2-40B4-BE49-F238E27FC236}">
                <a16:creationId xmlns:a16="http://schemas.microsoft.com/office/drawing/2014/main" id="{FEF479CE-9694-D73C-93D3-73622E5B7BE3}"/>
              </a:ext>
            </a:extLst>
          </p:cNvPr>
          <p:cNvSpPr>
            <a:spLocks noGrp="1"/>
          </p:cNvSpPr>
          <p:nvPr>
            <p:ph type="pic" sz="quarter" idx="34" hasCustomPrompt="1"/>
          </p:nvPr>
        </p:nvSpPr>
        <p:spPr>
          <a:xfrm>
            <a:off x="382588" y="370765"/>
            <a:ext cx="1532476" cy="149002"/>
          </a:xfrm>
          <a:blipFill>
            <a:blip r:embed="rId7"/>
            <a:stretch>
              <a:fillRect/>
            </a:stretch>
          </a:blipFill>
        </p:spPr>
        <p:txBody>
          <a:bodyPr/>
          <a:lstStyle>
            <a:lvl1pPr marL="0" indent="0">
              <a:buNone/>
              <a:defRPr/>
            </a:lvl1pPr>
          </a:lstStyle>
          <a:p>
            <a:r>
              <a:rPr lang="en-US" noProof="0"/>
              <a:t> </a:t>
            </a:r>
            <a:endParaRPr lang="en-US" noProof="0" dirty="0"/>
          </a:p>
        </p:txBody>
      </p:sp>
      <p:sp>
        <p:nvSpPr>
          <p:cNvPr id="7" name="Text Placeholder 7">
            <a:extLst>
              <a:ext uri="{FF2B5EF4-FFF2-40B4-BE49-F238E27FC236}">
                <a16:creationId xmlns:a16="http://schemas.microsoft.com/office/drawing/2014/main" id="{7FD869C4-4A3F-F481-DF46-2C1735613FB9}"/>
              </a:ext>
            </a:extLst>
          </p:cNvPr>
          <p:cNvSpPr>
            <a:spLocks noGrp="1"/>
          </p:cNvSpPr>
          <p:nvPr>
            <p:ph type="body" sz="quarter" idx="35" hasCustomPrompt="1"/>
          </p:nvPr>
        </p:nvSpPr>
        <p:spPr>
          <a:xfrm>
            <a:off x="11302726" y="377825"/>
            <a:ext cx="508274" cy="508274"/>
          </a:xfrm>
          <a:blipFill>
            <a:blip r:embed="rId8"/>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5797964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ubchapter 1">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EBC529DE-BD85-7126-DB1D-B1D170E694D0}"/>
              </a:ext>
            </a:extLst>
          </p:cNvPr>
          <p:cNvSpPr>
            <a:spLocks noGrp="1"/>
          </p:cNvSpPr>
          <p:nvPr>
            <p:ph type="pic" sz="quarter" idx="36" hasCustomPrompt="1"/>
          </p:nvPr>
        </p:nvSpPr>
        <p:spPr>
          <a:xfrm>
            <a:off x="0" y="0"/>
            <a:ext cx="12192000" cy="6858000"/>
          </a:xfrm>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8" name="Text Placeholder 7">
            <a:extLst>
              <a:ext uri="{FF2B5EF4-FFF2-40B4-BE49-F238E27FC236}">
                <a16:creationId xmlns:a16="http://schemas.microsoft.com/office/drawing/2014/main" id="{CBA196E5-671B-56C1-2915-1A430EC63A1D}"/>
              </a:ext>
            </a:extLst>
          </p:cNvPr>
          <p:cNvSpPr>
            <a:spLocks noGrp="1"/>
          </p:cNvSpPr>
          <p:nvPr>
            <p:ph type="body" sz="quarter" idx="37" hasCustomPrompt="1"/>
          </p:nvPr>
        </p:nvSpPr>
        <p:spPr>
          <a:xfrm>
            <a:off x="793" y="1"/>
            <a:ext cx="5054285" cy="6504315"/>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GB" dirty="0"/>
              <a:t> </a:t>
            </a:r>
          </a:p>
        </p:txBody>
      </p:sp>
      <p:graphicFrame>
        <p:nvGraphicFramePr>
          <p:cNvPr id="2" name="Object 1" hidden="1">
            <a:extLst>
              <a:ext uri="{FF2B5EF4-FFF2-40B4-BE49-F238E27FC236}">
                <a16:creationId xmlns:a16="http://schemas.microsoft.com/office/drawing/2014/main" id="{4D2233D9-AD43-3006-AB11-7F66E0A011AE}"/>
              </a:ext>
            </a:extLst>
          </p:cNvPr>
          <p:cNvGraphicFramePr>
            <a:graphicFrameLocks noChangeAspect="1"/>
          </p:cNvGraphicFramePr>
          <p:nvPr>
            <p:custDataLst>
              <p:tags r:id="rId1"/>
            </p:custDataLst>
            <p:extLst>
              <p:ext uri="{D42A27DB-BD31-4B8C-83A1-F6EECF244321}">
                <p14:modId xmlns:p14="http://schemas.microsoft.com/office/powerpoint/2010/main" val="2887194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4D2233D9-AD43-3006-AB11-7F66E0A011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6459" y="491883"/>
            <a:ext cx="1932879" cy="1427415"/>
          </a:xfrm>
        </p:spPr>
        <p:txBody>
          <a:bodyPr vert="horz">
            <a:noAutofit/>
          </a:bodyPr>
          <a:lstStyle>
            <a:lvl1pPr>
              <a:defRPr sz="10000">
                <a:solidFill>
                  <a:schemeClr val="bg1"/>
                </a:solidFill>
                <a:latin typeface="+mn-lt"/>
              </a:defRPr>
            </a:lvl1pPr>
          </a:lstStyle>
          <a:p>
            <a:r>
              <a:rPr lang="en-US" noProof="0"/>
              <a:t>0.0</a:t>
            </a:r>
            <a:endParaRPr lang="en-US" noProof="0" dirty="0"/>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382588" y="3422318"/>
            <a:ext cx="3878262" cy="894502"/>
          </a:xfrm>
        </p:spPr>
        <p:txBody>
          <a:bodyPr anchor="b" anchorCtr="0">
            <a:noAutofit/>
          </a:bodyPr>
          <a:lstStyle>
            <a:lvl1pPr marL="0" indent="0">
              <a:lnSpc>
                <a:spcPct val="90000"/>
              </a:lnSpc>
              <a:buFontTx/>
              <a:buNone/>
              <a:defRPr sz="2500">
                <a:solidFill>
                  <a:schemeClr val="bg1"/>
                </a:solidFill>
                <a:latin typeface="+mj-lt"/>
              </a:defRPr>
            </a:lvl1pPr>
            <a:lvl6pPr>
              <a:defRPr sz="2000">
                <a:solidFill>
                  <a:schemeClr val="bg1"/>
                </a:solidFill>
                <a:latin typeface="+mj-lt"/>
              </a:defRPr>
            </a:lvl6pPr>
          </a:lstStyle>
          <a:p>
            <a:pPr lvl="0"/>
            <a:r>
              <a:rPr lang="en-US" noProof="0" dirty="0"/>
              <a:t>Subchapter heading</a:t>
            </a:r>
          </a:p>
        </p:txBody>
      </p:sp>
      <p:sp>
        <p:nvSpPr>
          <p:cNvPr id="9" name="Text Placeholder 8">
            <a:extLst>
              <a:ext uri="{FF2B5EF4-FFF2-40B4-BE49-F238E27FC236}">
                <a16:creationId xmlns:a16="http://schemas.microsoft.com/office/drawing/2014/main" id="{622E67F6-E679-E68D-4550-9744659DC089}"/>
              </a:ext>
            </a:extLst>
          </p:cNvPr>
          <p:cNvSpPr>
            <a:spLocks noGrp="1"/>
          </p:cNvSpPr>
          <p:nvPr>
            <p:ph type="body" sz="quarter" idx="17" hasCustomPrompt="1"/>
          </p:nvPr>
        </p:nvSpPr>
        <p:spPr bwMode="gray">
          <a:xfrm>
            <a:off x="382588" y="4316820"/>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endParaRPr lang="en-US" noProof="0" dirty="0"/>
          </a:p>
        </p:txBody>
      </p:sp>
      <p:sp>
        <p:nvSpPr>
          <p:cNvPr id="3" name="Text Placeholder 7">
            <a:extLst>
              <a:ext uri="{FF2B5EF4-FFF2-40B4-BE49-F238E27FC236}">
                <a16:creationId xmlns:a16="http://schemas.microsoft.com/office/drawing/2014/main" id="{0AC6D1E4-744E-1AFF-FC94-03D559437849}"/>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1238204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ubchapt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F7FA7-E13D-6F76-2937-9ADA15D37782}"/>
              </a:ext>
            </a:extLst>
          </p:cNvPr>
          <p:cNvGraphicFramePr>
            <a:graphicFrameLocks noChangeAspect="1"/>
          </p:cNvGraphicFramePr>
          <p:nvPr>
            <p:custDataLst>
              <p:tags r:id="rId1"/>
            </p:custDataLst>
            <p:extLst>
              <p:ext uri="{D42A27DB-BD31-4B8C-83A1-F6EECF244321}">
                <p14:modId xmlns:p14="http://schemas.microsoft.com/office/powerpoint/2010/main" val="23706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8FF7FA7-E13D-6F76-2937-9ADA15D37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8C53CDA3-C7BD-4B82-8F3F-B09EEEA95EFD}"/>
              </a:ext>
            </a:extLst>
          </p:cNvPr>
          <p:cNvSpPr>
            <a:spLocks noGrp="1"/>
          </p:cNvSpPr>
          <p:nvPr>
            <p:ph type="body" sz="quarter" idx="37" hasCustomPrompt="1"/>
          </p:nvPr>
        </p:nvSpPr>
        <p:spPr>
          <a:xfrm>
            <a:off x="793" y="1"/>
            <a:ext cx="5054285" cy="6504315"/>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sp>
        <p:nvSpPr>
          <p:cNvPr id="6" name="Picture Placeholder 7">
            <a:extLst>
              <a:ext uri="{FF2B5EF4-FFF2-40B4-BE49-F238E27FC236}">
                <a16:creationId xmlns:a16="http://schemas.microsoft.com/office/drawing/2014/main" id="{58F8E833-2B33-6B72-1121-95A5B42894B7}"/>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7" name="Titel 11">
            <a:extLst>
              <a:ext uri="{FF2B5EF4-FFF2-40B4-BE49-F238E27FC236}">
                <a16:creationId xmlns:a16="http://schemas.microsoft.com/office/drawing/2014/main" id="{08129F2E-A42C-92D4-6841-A94998C5CD19}"/>
              </a:ext>
            </a:extLst>
          </p:cNvPr>
          <p:cNvSpPr>
            <a:spLocks noGrp="1"/>
          </p:cNvSpPr>
          <p:nvPr>
            <p:ph type="title" hasCustomPrompt="1"/>
          </p:nvPr>
        </p:nvSpPr>
        <p:spPr bwMode="gray">
          <a:xfrm>
            <a:off x="386459" y="491883"/>
            <a:ext cx="1932879" cy="1427415"/>
          </a:xfrm>
        </p:spPr>
        <p:txBody>
          <a:bodyPr vert="horz">
            <a:noAutofit/>
          </a:bodyPr>
          <a:lstStyle>
            <a:lvl1pPr>
              <a:defRPr sz="10000">
                <a:solidFill>
                  <a:schemeClr val="bg1"/>
                </a:solidFill>
                <a:latin typeface="+mn-lt"/>
              </a:defRPr>
            </a:lvl1pPr>
          </a:lstStyle>
          <a:p>
            <a:r>
              <a:rPr lang="en-US" noProof="0"/>
              <a:t>0.0</a:t>
            </a:r>
            <a:endParaRPr lang="en-US" noProof="0" dirty="0"/>
          </a:p>
        </p:txBody>
      </p:sp>
      <p:sp>
        <p:nvSpPr>
          <p:cNvPr id="3" name="Textplatzhalter 13">
            <a:extLst>
              <a:ext uri="{FF2B5EF4-FFF2-40B4-BE49-F238E27FC236}">
                <a16:creationId xmlns:a16="http://schemas.microsoft.com/office/drawing/2014/main" id="{ED8E0A6B-168B-F7DB-349C-A43726864C73}"/>
              </a:ext>
            </a:extLst>
          </p:cNvPr>
          <p:cNvSpPr>
            <a:spLocks noGrp="1"/>
          </p:cNvSpPr>
          <p:nvPr>
            <p:ph type="body" sz="quarter" idx="10" hasCustomPrompt="1"/>
          </p:nvPr>
        </p:nvSpPr>
        <p:spPr bwMode="gray">
          <a:xfrm>
            <a:off x="382588" y="3422318"/>
            <a:ext cx="3878262" cy="894502"/>
          </a:xfrm>
        </p:spPr>
        <p:txBody>
          <a:bodyPr anchor="b" anchorCtr="0">
            <a:noAutofit/>
          </a:bodyPr>
          <a:lstStyle>
            <a:lvl1pPr marL="0" indent="0">
              <a:lnSpc>
                <a:spcPct val="90000"/>
              </a:lnSpc>
              <a:buFontTx/>
              <a:buNone/>
              <a:defRPr sz="2500">
                <a:solidFill>
                  <a:schemeClr val="bg1"/>
                </a:solidFill>
                <a:latin typeface="+mj-lt"/>
              </a:defRPr>
            </a:lvl1pPr>
            <a:lvl6pPr>
              <a:defRPr sz="2000">
                <a:solidFill>
                  <a:schemeClr val="bg1"/>
                </a:solidFill>
                <a:latin typeface="+mj-lt"/>
              </a:defRPr>
            </a:lvl6pPr>
          </a:lstStyle>
          <a:p>
            <a:pPr lvl="0"/>
            <a:r>
              <a:rPr lang="en-US" noProof="0" dirty="0"/>
              <a:t>Subchapter heading</a:t>
            </a:r>
          </a:p>
        </p:txBody>
      </p:sp>
      <p:sp>
        <p:nvSpPr>
          <p:cNvPr id="4" name="Text Placeholder 8">
            <a:extLst>
              <a:ext uri="{FF2B5EF4-FFF2-40B4-BE49-F238E27FC236}">
                <a16:creationId xmlns:a16="http://schemas.microsoft.com/office/drawing/2014/main" id="{D84E3E57-C65E-36ED-3ABB-CAF076010396}"/>
              </a:ext>
            </a:extLst>
          </p:cNvPr>
          <p:cNvSpPr>
            <a:spLocks noGrp="1"/>
          </p:cNvSpPr>
          <p:nvPr>
            <p:ph type="body" sz="quarter" idx="17" hasCustomPrompt="1"/>
          </p:nvPr>
        </p:nvSpPr>
        <p:spPr bwMode="gray">
          <a:xfrm>
            <a:off x="382588" y="4316820"/>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endParaRPr lang="en-US" noProof="0" dirty="0"/>
          </a:p>
        </p:txBody>
      </p:sp>
      <p:sp>
        <p:nvSpPr>
          <p:cNvPr id="5" name="Text Placeholder 9">
            <a:extLst>
              <a:ext uri="{FF2B5EF4-FFF2-40B4-BE49-F238E27FC236}">
                <a16:creationId xmlns:a16="http://schemas.microsoft.com/office/drawing/2014/main" id="{39549E45-09AA-257F-7C5E-1FD256192A2A}"/>
              </a:ext>
            </a:extLst>
          </p:cNvPr>
          <p:cNvSpPr>
            <a:spLocks noGrp="1" noChangeAspect="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857706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sp>
        <p:nvSpPr>
          <p:cNvPr id="4" name="Picture Placeholder 7">
            <a:extLst>
              <a:ext uri="{FF2B5EF4-FFF2-40B4-BE49-F238E27FC236}">
                <a16:creationId xmlns:a16="http://schemas.microsoft.com/office/drawing/2014/main" id="{F5C1F063-5B50-B99C-A1B1-78A65971AE14}"/>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8" name="Text Placeholder 7">
            <a:extLst>
              <a:ext uri="{FF2B5EF4-FFF2-40B4-BE49-F238E27FC236}">
                <a16:creationId xmlns:a16="http://schemas.microsoft.com/office/drawing/2014/main" id="{4C40BA03-8472-DC44-D898-8473F8858C3D}"/>
              </a:ext>
            </a:extLst>
          </p:cNvPr>
          <p:cNvSpPr>
            <a:spLocks noGrp="1"/>
          </p:cNvSpPr>
          <p:nvPr>
            <p:ph type="body" sz="quarter" idx="37" hasCustomPrompt="1"/>
          </p:nvPr>
        </p:nvSpPr>
        <p:spPr>
          <a:xfrm>
            <a:off x="381453" y="2673350"/>
            <a:ext cx="5619582" cy="3823702"/>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GB" dirty="0"/>
              <a:t> </a:t>
            </a:r>
          </a:p>
        </p:txBody>
      </p:sp>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extLst>
              <p:ext uri="{D42A27DB-BD31-4B8C-83A1-F6EECF244321}">
                <p14:modId xmlns:p14="http://schemas.microsoft.com/office/powerpoint/2010/main" val="1188104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el 11">
            <a:extLst>
              <a:ext uri="{FF2B5EF4-FFF2-40B4-BE49-F238E27FC236}">
                <a16:creationId xmlns:a16="http://schemas.microsoft.com/office/drawing/2014/main" id="{2D768B8D-9784-A00A-28D7-76651ACE8EF4}"/>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dirty="0"/>
              <a:t>Divider heading</a:t>
            </a:r>
          </a:p>
        </p:txBody>
      </p:sp>
      <p:sp>
        <p:nvSpPr>
          <p:cNvPr id="16" name="Text Placeholder 15">
            <a:extLst>
              <a:ext uri="{FF2B5EF4-FFF2-40B4-BE49-F238E27FC236}">
                <a16:creationId xmlns:a16="http://schemas.microsoft.com/office/drawing/2014/main" id="{C3F63DD7-5F60-54AE-C989-345BE1D55F25}"/>
              </a:ext>
            </a:extLst>
          </p:cNvPr>
          <p:cNvSpPr>
            <a:spLocks noGrp="1"/>
          </p:cNvSpPr>
          <p:nvPr>
            <p:ph type="body" sz="quarter" idx="17"/>
          </p:nvPr>
        </p:nvSpPr>
        <p:spPr bwMode="gray">
          <a:xfrm>
            <a:off x="1146175" y="3889094"/>
            <a:ext cx="4078287" cy="1832255"/>
          </a:xfrm>
        </p:spPr>
        <p:txBody>
          <a:bodyPr tIns="36000" bIns="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 name="Text Placeholder 7">
            <a:extLst>
              <a:ext uri="{FF2B5EF4-FFF2-40B4-BE49-F238E27FC236}">
                <a16:creationId xmlns:a16="http://schemas.microsoft.com/office/drawing/2014/main" id="{50B44CA8-076B-20F0-BB6C-528A016307D2}"/>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23096215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extLst>
              <p:ext uri="{D42A27DB-BD31-4B8C-83A1-F6EECF244321}">
                <p14:modId xmlns:p14="http://schemas.microsoft.com/office/powerpoint/2010/main" val="144773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7">
            <a:extLst>
              <a:ext uri="{FF2B5EF4-FFF2-40B4-BE49-F238E27FC236}">
                <a16:creationId xmlns:a16="http://schemas.microsoft.com/office/drawing/2014/main" id="{D8EA46A1-7552-2A96-70B7-218693D14D97}"/>
              </a:ext>
            </a:extLst>
          </p:cNvPr>
          <p:cNvSpPr>
            <a:spLocks noGrp="1"/>
          </p:cNvSpPr>
          <p:nvPr>
            <p:ph type="pic" sz="quarter" idx="36" hasCustomPrompt="1"/>
          </p:nvPr>
        </p:nvSpPr>
        <p:spPr>
          <a:xfrm>
            <a:off x="0" y="0"/>
            <a:ext cx="12192000" cy="6858000"/>
          </a:xfrm>
          <a:noFill/>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6" name="Text Placeholder 7">
            <a:extLst>
              <a:ext uri="{FF2B5EF4-FFF2-40B4-BE49-F238E27FC236}">
                <a16:creationId xmlns:a16="http://schemas.microsoft.com/office/drawing/2014/main" id="{B3A49966-36BA-2C29-5105-1C9AF6C63C15}"/>
              </a:ext>
            </a:extLst>
          </p:cNvPr>
          <p:cNvSpPr>
            <a:spLocks noGrp="1"/>
          </p:cNvSpPr>
          <p:nvPr>
            <p:ph type="body" sz="quarter" idx="37" hasCustomPrompt="1"/>
          </p:nvPr>
        </p:nvSpPr>
        <p:spPr>
          <a:xfrm>
            <a:off x="381453" y="2673350"/>
            <a:ext cx="5619582" cy="3823702"/>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sp>
        <p:nvSpPr>
          <p:cNvPr id="4" name="Titel 11">
            <a:extLst>
              <a:ext uri="{FF2B5EF4-FFF2-40B4-BE49-F238E27FC236}">
                <a16:creationId xmlns:a16="http://schemas.microsoft.com/office/drawing/2014/main" id="{325E53B7-FC92-6F0C-2963-98101615DBEA}"/>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dirty="0"/>
              <a:t>Divider heading</a:t>
            </a:r>
          </a:p>
        </p:txBody>
      </p:sp>
      <p:sp>
        <p:nvSpPr>
          <p:cNvPr id="7" name="Text Placeholder 15">
            <a:extLst>
              <a:ext uri="{FF2B5EF4-FFF2-40B4-BE49-F238E27FC236}">
                <a16:creationId xmlns:a16="http://schemas.microsoft.com/office/drawing/2014/main" id="{9ABE049B-5BF6-8664-4649-0CA9C16559F1}"/>
              </a:ext>
            </a:extLst>
          </p:cNvPr>
          <p:cNvSpPr>
            <a:spLocks noGrp="1"/>
          </p:cNvSpPr>
          <p:nvPr>
            <p:ph type="body" sz="quarter" idx="17"/>
          </p:nvPr>
        </p:nvSpPr>
        <p:spPr bwMode="gray">
          <a:xfrm>
            <a:off x="1146175" y="3889094"/>
            <a:ext cx="4078287" cy="1832255"/>
          </a:xfrm>
        </p:spPr>
        <p:txBody>
          <a:bodyPr tIns="3600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9" name="Text Placeholder 9">
            <a:extLst>
              <a:ext uri="{FF2B5EF4-FFF2-40B4-BE49-F238E27FC236}">
                <a16:creationId xmlns:a16="http://schemas.microsoft.com/office/drawing/2014/main" id="{C022F5F3-633C-1C8C-54E0-243677838EA6}"/>
              </a:ext>
            </a:extLst>
          </p:cNvPr>
          <p:cNvSpPr>
            <a:spLocks noGrp="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13075464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62CB8F-6A1B-9C5C-8211-8F5DC82C37ED}"/>
              </a:ext>
            </a:extLst>
          </p:cNvPr>
          <p:cNvGraphicFramePr>
            <a:graphicFrameLocks noChangeAspect="1"/>
          </p:cNvGraphicFramePr>
          <p:nvPr>
            <p:custDataLst>
              <p:tags r:id="rId1"/>
            </p:custDataLst>
            <p:extLst>
              <p:ext uri="{D42A27DB-BD31-4B8C-83A1-F6EECF244321}">
                <p14:modId xmlns:p14="http://schemas.microsoft.com/office/powerpoint/2010/main" val="29769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5662CB8F-6A1B-9C5C-8211-8F5DC82C3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7551041" cy="4608513"/>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dirty="0"/>
              <a:t>16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0"/>
            <a:r>
              <a:rPr lang="en-GB" sz="1400" noProof="0" dirty="0"/>
              <a:t>Sixth level</a:t>
            </a:r>
            <a:endParaRPr lang="en-GB" noProof="0" dirty="0"/>
          </a:p>
          <a:p>
            <a:pPr lvl="0"/>
            <a:endParaRPr lang="en-US" dirty="0"/>
          </a:p>
        </p:txBody>
      </p:sp>
      <p:sp>
        <p:nvSpPr>
          <p:cNvPr id="4" name="Textplatzhalter 3">
            <a:extLst>
              <a:ext uri="{FF2B5EF4-FFF2-40B4-BE49-F238E27FC236}">
                <a16:creationId xmlns:a16="http://schemas.microsoft.com/office/drawing/2014/main" id="{537592A9-6BED-AF0C-E702-4EC8B336A27C}"/>
              </a:ext>
            </a:extLst>
          </p:cNvPr>
          <p:cNvSpPr>
            <a:spLocks noGrp="1"/>
          </p:cNvSpPr>
          <p:nvPr>
            <p:ph type="body" sz="quarter" idx="13"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24" name="Slide Number Placeholder 23">
            <a:extLst>
              <a:ext uri="{FF2B5EF4-FFF2-40B4-BE49-F238E27FC236}">
                <a16:creationId xmlns:a16="http://schemas.microsoft.com/office/drawing/2014/main" id="{394DD5CA-BBEB-7A90-8816-D7000113CAFD}"/>
              </a:ext>
            </a:extLst>
          </p:cNvPr>
          <p:cNvSpPr>
            <a:spLocks noGrp="1"/>
          </p:cNvSpPr>
          <p:nvPr>
            <p:ph type="sldNum" sz="quarter" idx="16"/>
          </p:nvPr>
        </p:nvSpPr>
        <p:spPr/>
        <p:txBody>
          <a:bodyPr/>
          <a:lstStyle/>
          <a:p>
            <a:fld id="{A115CDC9-74CB-4F6C-8CD3-A6C89F254EE7}" type="slidenum">
              <a:rPr lang="en-US" smtClean="0"/>
              <a:pPr/>
              <a:t>‹#›</a:t>
            </a:fld>
            <a:endParaRPr lang="en-US" dirty="0"/>
          </a:p>
        </p:txBody>
      </p:sp>
      <p:sp>
        <p:nvSpPr>
          <p:cNvPr id="5" name="Title 4">
            <a:extLst>
              <a:ext uri="{FF2B5EF4-FFF2-40B4-BE49-F238E27FC236}">
                <a16:creationId xmlns:a16="http://schemas.microsoft.com/office/drawing/2014/main" id="{0E8EF545-8DE2-4608-BF12-3FCDB7C273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98872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9016ED-28CA-C732-AD0E-BA089250403A}"/>
              </a:ext>
            </a:extLst>
          </p:cNvPr>
          <p:cNvGraphicFramePr>
            <a:graphicFrameLocks noChangeAspect="1"/>
          </p:cNvGraphicFramePr>
          <p:nvPr>
            <p:custDataLst>
              <p:tags r:id="rId1"/>
            </p:custDataLst>
            <p:extLst>
              <p:ext uri="{D42A27DB-BD31-4B8C-83A1-F6EECF244321}">
                <p14:modId xmlns:p14="http://schemas.microsoft.com/office/powerpoint/2010/main" val="304287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9016ED-28CA-C732-AD0E-BA08925040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5609529" cy="4608513"/>
          </a:xfrm>
        </p:spPr>
        <p:txBody>
          <a:bodyPr>
            <a:noAutofit/>
          </a:bodyPr>
          <a:lstStyle>
            <a:lvl5pPr>
              <a:defRPr/>
            </a:lvl5pPr>
            <a:lvl6pPr marL="0" indent="0">
              <a:buFontTx/>
              <a:buNone/>
              <a:defRPr sz="1400"/>
            </a:lvl6p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0"/>
            <a:r>
              <a:rPr lang="en-GB" sz="1400" noProof="0" dirty="0"/>
              <a:t>Sixth level</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1307399"/>
            <a:ext cx="5609529" cy="4608513"/>
          </a:xfrm>
        </p:spPr>
        <p:txBody>
          <a:bodyPr>
            <a:noAutofit/>
          </a:bodyPr>
          <a:lstStyle>
            <a:lvl5pPr>
              <a:defRPr/>
            </a:lvl5pPr>
            <a:lvl6pPr marL="0" indent="0">
              <a:buFontTx/>
              <a:buNone/>
              <a:defRPr sz="1400"/>
            </a:lvl6p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0"/>
            <a:r>
              <a:rPr lang="en-GB" sz="1400" noProof="0" dirty="0"/>
              <a:t>Sixth level</a:t>
            </a:r>
            <a:endParaRPr lang="en-GB" noProof="0" dirty="0"/>
          </a:p>
        </p:txBody>
      </p:sp>
      <p:sp>
        <p:nvSpPr>
          <p:cNvPr id="8" name="Textplatzhalter 3">
            <a:extLst>
              <a:ext uri="{FF2B5EF4-FFF2-40B4-BE49-F238E27FC236}">
                <a16:creationId xmlns:a16="http://schemas.microsoft.com/office/drawing/2014/main" id="{EEAF1444-D87B-9A2C-4132-42B1FF6E8046}"/>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23" name="Slide Number Placeholder 22">
            <a:extLst>
              <a:ext uri="{FF2B5EF4-FFF2-40B4-BE49-F238E27FC236}">
                <a16:creationId xmlns:a16="http://schemas.microsoft.com/office/drawing/2014/main" id="{DA54DAF6-6A97-80EA-6021-9696B2C19ABF}"/>
              </a:ext>
            </a:extLst>
          </p:cNvPr>
          <p:cNvSpPr>
            <a:spLocks noGrp="1"/>
          </p:cNvSpPr>
          <p:nvPr>
            <p:ph type="sldNum" sz="quarter" idx="17"/>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16086561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77500A-4B5A-E5FE-BBA5-0C70E6AF5F81}"/>
              </a:ext>
            </a:extLst>
          </p:cNvPr>
          <p:cNvGraphicFramePr>
            <a:graphicFrameLocks noChangeAspect="1"/>
          </p:cNvGraphicFramePr>
          <p:nvPr>
            <p:custDataLst>
              <p:tags r:id="rId1"/>
            </p:custDataLst>
            <p:extLst>
              <p:ext uri="{D42A27DB-BD31-4B8C-83A1-F6EECF244321}">
                <p14:modId xmlns:p14="http://schemas.microsoft.com/office/powerpoint/2010/main" val="307090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6477500A-4B5A-E5FE-BBA5-0C70E6AF5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0" y="1302450"/>
            <a:ext cx="3675953" cy="4610988"/>
          </a:xfrm>
        </p:spPr>
        <p:txBody>
          <a:bodyPr>
            <a:noAutofit/>
          </a:body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dirty="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4260851" y="1304925"/>
            <a:ext cx="3675953" cy="4610988"/>
          </a:xfrm>
        </p:spPr>
        <p:txBody>
          <a:bodyPr>
            <a:noAutofit/>
          </a:body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Inhaltsplatzhalter 2">
            <a:extLst>
              <a:ext uri="{FF2B5EF4-FFF2-40B4-BE49-F238E27FC236}">
                <a16:creationId xmlns:a16="http://schemas.microsoft.com/office/drawing/2014/main" id="{8F530E16-8DA4-62B7-4109-A39DAD31439C}"/>
              </a:ext>
            </a:extLst>
          </p:cNvPr>
          <p:cNvSpPr>
            <a:spLocks noGrp="1"/>
          </p:cNvSpPr>
          <p:nvPr>
            <p:ph idx="14" hasCustomPrompt="1"/>
          </p:nvPr>
        </p:nvSpPr>
        <p:spPr>
          <a:xfrm>
            <a:off x="8135939" y="1304925"/>
            <a:ext cx="3675954" cy="4610988"/>
          </a:xfrm>
        </p:spPr>
        <p:txBody>
          <a:bodyPr>
            <a:noAutofit/>
          </a:body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platzhalter 3">
            <a:extLst>
              <a:ext uri="{FF2B5EF4-FFF2-40B4-BE49-F238E27FC236}">
                <a16:creationId xmlns:a16="http://schemas.microsoft.com/office/drawing/2014/main" id="{493A8D7E-252D-BFA7-B151-6478C5238C06}"/>
              </a:ext>
            </a:extLst>
          </p:cNvPr>
          <p:cNvSpPr>
            <a:spLocks noGrp="1"/>
          </p:cNvSpPr>
          <p:nvPr>
            <p:ph type="body" sz="quarter" idx="1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9" name="Slide Number Placeholder 18">
            <a:extLst>
              <a:ext uri="{FF2B5EF4-FFF2-40B4-BE49-F238E27FC236}">
                <a16:creationId xmlns:a16="http://schemas.microsoft.com/office/drawing/2014/main" id="{934528B9-90E2-8813-08E6-172BF1BCC396}"/>
              </a:ext>
            </a:extLst>
          </p:cNvPr>
          <p:cNvSpPr>
            <a:spLocks noGrp="1"/>
          </p:cNvSpPr>
          <p:nvPr>
            <p:ph type="sldNum" sz="quarter" idx="18"/>
          </p:nvPr>
        </p:nvSpPr>
        <p:spPr/>
        <p:txBody>
          <a:bodyPr/>
          <a:lstStyle/>
          <a:p>
            <a:fld id="{A115CDC9-74CB-4F6C-8CD3-A6C89F254EE7}" type="slidenum">
              <a:rPr lang="en-US" smtClean="0"/>
              <a:pPr/>
              <a:t>‹#›</a:t>
            </a:fld>
            <a:endParaRPr lang="en-US" dirty="0"/>
          </a:p>
        </p:txBody>
      </p:sp>
      <p:sp>
        <p:nvSpPr>
          <p:cNvPr id="11" name="Bildplatzhalter 19">
            <a:extLst>
              <a:ext uri="{FF2B5EF4-FFF2-40B4-BE49-F238E27FC236}">
                <a16:creationId xmlns:a16="http://schemas.microsoft.com/office/drawing/2014/main" id="{95445B13-68D1-4799-B69F-73D40AD83E96}"/>
              </a:ext>
            </a:extLst>
          </p:cNvPr>
          <p:cNvSpPr>
            <a:spLocks noGrp="1"/>
          </p:cNvSpPr>
          <p:nvPr>
            <p:ph type="pic" sz="quarter" idx="22"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12" name="Text Placeholder 7">
            <a:extLst>
              <a:ext uri="{FF2B5EF4-FFF2-40B4-BE49-F238E27FC236}">
                <a16:creationId xmlns:a16="http://schemas.microsoft.com/office/drawing/2014/main" id="{8EA150A8-534E-4DFB-AC2E-52960509B3EA}"/>
              </a:ext>
            </a:extLst>
          </p:cNvPr>
          <p:cNvSpPr>
            <a:spLocks noGrp="1" noChangeAspect="1"/>
          </p:cNvSpPr>
          <p:nvPr>
            <p:ph type="body" sz="quarter" idx="35" hasCustomPrompt="1"/>
          </p:nvPr>
        </p:nvSpPr>
        <p:spPr>
          <a:xfrm>
            <a:off x="11523000" y="6201700"/>
            <a:ext cx="288000" cy="288000"/>
          </a:xfrm>
          <a:blipFill>
            <a:blip r:embed="rId6"/>
            <a:stretch>
              <a:fillRect/>
            </a:stretch>
          </a:blipFill>
        </p:spPr>
        <p:txBody>
          <a:bodyPr/>
          <a:lstStyle>
            <a:lvl1pPr>
              <a:defRPr sz="100"/>
            </a:lvl1pPr>
          </a:lstStyle>
          <a:p>
            <a:pPr lvl="0"/>
            <a:r>
              <a:rPr lang="de-DE" dirty="0"/>
              <a:t> </a:t>
            </a:r>
            <a:endParaRPr lang="en-US" dirty="0"/>
          </a:p>
        </p:txBody>
      </p:sp>
      <p:pic>
        <p:nvPicPr>
          <p:cNvPr id="13" name="Picture 12">
            <a:extLst>
              <a:ext uri="{FF2B5EF4-FFF2-40B4-BE49-F238E27FC236}">
                <a16:creationId xmlns:a16="http://schemas.microsoft.com/office/drawing/2014/main" id="{063AD4FA-5992-4655-A5BA-D3A684DA553F}"/>
              </a:ext>
              <a:ext uri="{C183D7F6-B498-43B3-948B-1728B52AA6E4}">
                <adec:decorative xmlns:adec="http://schemas.microsoft.com/office/drawing/2017/decorative" val="1"/>
              </a:ext>
            </a:extLst>
          </p:cNvPr>
          <p:cNvPicPr>
            <a:picLocks noChangeAspect="1"/>
          </p:cNvPicPr>
          <p:nvPr userDrawn="1"/>
        </p:nvPicPr>
        <p:blipFill>
          <a:blip r:embed="rId7"/>
          <a:stretch>
            <a:fillRect/>
          </a:stretch>
        </p:blipFill>
        <p:spPr>
          <a:xfrm>
            <a:off x="10033973" y="6055127"/>
            <a:ext cx="1132513" cy="662413"/>
          </a:xfrm>
          <a:prstGeom prst="rect">
            <a:avLst/>
          </a:prstGeom>
        </p:spPr>
      </p:pic>
    </p:spTree>
    <p:extLst>
      <p:ext uri="{BB962C8B-B14F-4D97-AF65-F5344CB8AC3E}">
        <p14:creationId xmlns:p14="http://schemas.microsoft.com/office/powerpoint/2010/main" val="32784178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extLst>
              <p:ext uri="{D42A27DB-BD31-4B8C-83A1-F6EECF244321}">
                <p14:modId xmlns:p14="http://schemas.microsoft.com/office/powerpoint/2010/main" val="571610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2" y="1304924"/>
            <a:ext cx="2698052"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310679" y="1304924"/>
            <a:ext cx="2698052"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88731" y="1304924"/>
            <a:ext cx="2698052"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3" y="1304924"/>
            <a:ext cx="2698052"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platzhalter 3">
            <a:extLst>
              <a:ext uri="{FF2B5EF4-FFF2-40B4-BE49-F238E27FC236}">
                <a16:creationId xmlns:a16="http://schemas.microsoft.com/office/drawing/2014/main" id="{8C743180-9A9A-7A61-7443-2B641F2E7A7D}"/>
              </a:ext>
            </a:extLst>
          </p:cNvPr>
          <p:cNvSpPr>
            <a:spLocks noGrp="1"/>
          </p:cNvSpPr>
          <p:nvPr>
            <p:ph type="body" sz="quarter" idx="16"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7" name="Slide Number Placeholder 16">
            <a:extLst>
              <a:ext uri="{FF2B5EF4-FFF2-40B4-BE49-F238E27FC236}">
                <a16:creationId xmlns:a16="http://schemas.microsoft.com/office/drawing/2014/main" id="{F03C78B1-C370-46E4-E528-1EDD2E048B4D}"/>
              </a:ext>
            </a:extLst>
          </p:cNvPr>
          <p:cNvSpPr>
            <a:spLocks noGrp="1"/>
          </p:cNvSpPr>
          <p:nvPr>
            <p:ph type="sldNum" sz="quarter" idx="19"/>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6438203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5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extLst>
              <p:ext uri="{D42A27DB-BD31-4B8C-83A1-F6EECF244321}">
                <p14:modId xmlns:p14="http://schemas.microsoft.com/office/powerpoint/2010/main" val="3683252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1304924"/>
            <a:ext cx="2140908"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1304924"/>
            <a:ext cx="2140908"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1304924"/>
            <a:ext cx="2140908"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1304924"/>
            <a:ext cx="2140908"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1304924"/>
            <a:ext cx="2140908" cy="460851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platzhalter 3">
            <a:extLst>
              <a:ext uri="{FF2B5EF4-FFF2-40B4-BE49-F238E27FC236}">
                <a16:creationId xmlns:a16="http://schemas.microsoft.com/office/drawing/2014/main" id="{18FA52C9-910E-F0F4-0390-17C09D5CDC16}"/>
              </a:ext>
            </a:extLst>
          </p:cNvPr>
          <p:cNvSpPr>
            <a:spLocks noGrp="1"/>
          </p:cNvSpPr>
          <p:nvPr>
            <p:ph type="body" sz="quarter" idx="17"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8" name="Slide Number Placeholder 17">
            <a:extLst>
              <a:ext uri="{FF2B5EF4-FFF2-40B4-BE49-F238E27FC236}">
                <a16:creationId xmlns:a16="http://schemas.microsoft.com/office/drawing/2014/main" id="{0DF2D411-1E85-0CA3-F601-7EE2C5BA4334}"/>
              </a:ext>
            </a:extLst>
          </p:cNvPr>
          <p:cNvSpPr>
            <a:spLocks noGrp="1"/>
          </p:cNvSpPr>
          <p:nvPr>
            <p:ph type="sldNum" sz="quarter" idx="20"/>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1526120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6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B75234-748A-D9F6-B2B1-259C5314743D}"/>
              </a:ext>
            </a:extLst>
          </p:cNvPr>
          <p:cNvGraphicFramePr>
            <a:graphicFrameLocks noChangeAspect="1"/>
          </p:cNvGraphicFramePr>
          <p:nvPr>
            <p:custDataLst>
              <p:tags r:id="rId1"/>
            </p:custDataLst>
            <p:extLst>
              <p:ext uri="{D42A27DB-BD31-4B8C-83A1-F6EECF244321}">
                <p14:modId xmlns:p14="http://schemas.microsoft.com/office/powerpoint/2010/main" val="25169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8FB75234-748A-D9F6-B2B1-259C531474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8127"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5" name="Inhaltsplatzhalter 2">
            <a:extLst>
              <a:ext uri="{FF2B5EF4-FFF2-40B4-BE49-F238E27FC236}">
                <a16:creationId xmlns:a16="http://schemas.microsoft.com/office/drawing/2014/main" id="{70BE7BEC-B8D6-86C0-5A5F-9A8CAABC2BDE}"/>
              </a:ext>
            </a:extLst>
          </p:cNvPr>
          <p:cNvSpPr>
            <a:spLocks noGrp="1"/>
          </p:cNvSpPr>
          <p:nvPr>
            <p:ph idx="13" hasCustomPrompt="1"/>
          </p:nvPr>
        </p:nvSpPr>
        <p:spPr>
          <a:xfrm>
            <a:off x="2324087"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Inhaltsplatzhalter 2">
            <a:extLst>
              <a:ext uri="{FF2B5EF4-FFF2-40B4-BE49-F238E27FC236}">
                <a16:creationId xmlns:a16="http://schemas.microsoft.com/office/drawing/2014/main" id="{172C675A-87FD-6815-15D8-60B110A5DF46}"/>
              </a:ext>
            </a:extLst>
          </p:cNvPr>
          <p:cNvSpPr>
            <a:spLocks noGrp="1"/>
          </p:cNvSpPr>
          <p:nvPr>
            <p:ph idx="14" hasCustomPrompt="1"/>
          </p:nvPr>
        </p:nvSpPr>
        <p:spPr>
          <a:xfrm>
            <a:off x="4260047"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a:t>
            </a:r>
            <a:r>
              <a:rPr lang="en-GB" noProof="0" dirty="0" err="1"/>
              <a:t>leve</a:t>
            </a:r>
            <a:endParaRPr lang="en-GB" noProof="0" dirty="0"/>
          </a:p>
        </p:txBody>
      </p:sp>
      <p:sp>
        <p:nvSpPr>
          <p:cNvPr id="14" name="Inhaltsplatzhalter 2">
            <a:extLst>
              <a:ext uri="{FF2B5EF4-FFF2-40B4-BE49-F238E27FC236}">
                <a16:creationId xmlns:a16="http://schemas.microsoft.com/office/drawing/2014/main" id="{6B96BCB2-00D1-234F-3E2B-E073EA01C7BB}"/>
              </a:ext>
            </a:extLst>
          </p:cNvPr>
          <p:cNvSpPr>
            <a:spLocks noGrp="1"/>
          </p:cNvSpPr>
          <p:nvPr>
            <p:ph idx="15" hasCustomPrompt="1"/>
          </p:nvPr>
        </p:nvSpPr>
        <p:spPr>
          <a:xfrm>
            <a:off x="6196007"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Inhaltsplatzhalter 2">
            <a:extLst>
              <a:ext uri="{FF2B5EF4-FFF2-40B4-BE49-F238E27FC236}">
                <a16:creationId xmlns:a16="http://schemas.microsoft.com/office/drawing/2014/main" id="{5D72F866-5BF4-AF41-FA3F-77D90B5F3E23}"/>
              </a:ext>
            </a:extLst>
          </p:cNvPr>
          <p:cNvSpPr>
            <a:spLocks noGrp="1"/>
          </p:cNvSpPr>
          <p:nvPr>
            <p:ph idx="16" hasCustomPrompt="1"/>
          </p:nvPr>
        </p:nvSpPr>
        <p:spPr>
          <a:xfrm>
            <a:off x="8131967"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Inhaltsplatzhalter 2">
            <a:extLst>
              <a:ext uri="{FF2B5EF4-FFF2-40B4-BE49-F238E27FC236}">
                <a16:creationId xmlns:a16="http://schemas.microsoft.com/office/drawing/2014/main" id="{0A18367D-43AA-66AE-0288-5A3E861FE085}"/>
              </a:ext>
            </a:extLst>
          </p:cNvPr>
          <p:cNvSpPr>
            <a:spLocks noGrp="1"/>
          </p:cNvSpPr>
          <p:nvPr>
            <p:ph idx="17" hasCustomPrompt="1"/>
          </p:nvPr>
        </p:nvSpPr>
        <p:spPr>
          <a:xfrm>
            <a:off x="10067925" y="1304924"/>
            <a:ext cx="1732774" cy="4608513"/>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dirty="0"/>
              <a:t>10 </a:t>
            </a:r>
            <a:r>
              <a:rPr lang="en-GB" noProof="0" dirty="0" err="1"/>
              <a:t>pt</a:t>
            </a:r>
            <a:r>
              <a:rPr lang="en-GB" noProof="0" dirty="0"/>
              <a:t>, 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platzhalter 3">
            <a:extLst>
              <a:ext uri="{FF2B5EF4-FFF2-40B4-BE49-F238E27FC236}">
                <a16:creationId xmlns:a16="http://schemas.microsoft.com/office/drawing/2014/main" id="{40863AFC-CB12-B931-7439-FF1F54041D22}"/>
              </a:ext>
            </a:extLst>
          </p:cNvPr>
          <p:cNvSpPr>
            <a:spLocks noGrp="1"/>
          </p:cNvSpPr>
          <p:nvPr>
            <p:ph type="body" sz="quarter" idx="18"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9" name="Slide Number Placeholder 18">
            <a:extLst>
              <a:ext uri="{FF2B5EF4-FFF2-40B4-BE49-F238E27FC236}">
                <a16:creationId xmlns:a16="http://schemas.microsoft.com/office/drawing/2014/main" id="{EF1C347A-5BE1-76D4-EDD7-E57DC121F6AF}"/>
              </a:ext>
            </a:extLst>
          </p:cNvPr>
          <p:cNvSpPr>
            <a:spLocks noGrp="1"/>
          </p:cNvSpPr>
          <p:nvPr>
            <p:ph type="sldNum" sz="quarter" idx="21"/>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3934977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extLst>
              <p:ext uri="{D42A27DB-BD31-4B8C-83A1-F6EECF244321}">
                <p14:modId xmlns:p14="http://schemas.microsoft.com/office/powerpoint/2010/main" val="222873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DDF05E62-E407-08E0-E750-6112ECAAF915}"/>
              </a:ext>
            </a:extLst>
          </p:cNvPr>
          <p:cNvSpPr>
            <a:spLocks noGrp="1"/>
          </p:cNvSpPr>
          <p:nvPr>
            <p:ph type="pic" sz="quarter" idx="36" hasCustomPrompt="1"/>
          </p:nvPr>
        </p:nvSpPr>
        <p:spPr>
          <a:xfrm>
            <a:off x="0" y="22034"/>
            <a:ext cx="12192000" cy="6835966"/>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4" name="Text Placeholder 3">
            <a:extLst>
              <a:ext uri="{FF2B5EF4-FFF2-40B4-BE49-F238E27FC236}">
                <a16:creationId xmlns:a16="http://schemas.microsoft.com/office/drawing/2014/main" id="{CCC84020-6BC7-6F3A-B0D7-265E2C987CF0}"/>
              </a:ext>
            </a:extLst>
          </p:cNvPr>
          <p:cNvSpPr>
            <a:spLocks noGrp="1"/>
          </p:cNvSpPr>
          <p:nvPr>
            <p:ph type="body" sz="quarter" idx="39" hasCustomPrompt="1"/>
          </p:nvPr>
        </p:nvSpPr>
        <p:spPr>
          <a:xfrm>
            <a:off x="382587" y="370800"/>
            <a:ext cx="6570663" cy="3851275"/>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dirty="0"/>
              <a:t> </a:t>
            </a:r>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a:solidFill>
                  <a:schemeClr val="bg1"/>
                </a:solidFill>
              </a:defRPr>
            </a:lvl1pPr>
          </a:lstStyle>
          <a:p>
            <a:r>
              <a:rPr lang="en-US" noProof="0" dirty="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295466"/>
          </a:xfrm>
          <a:prstGeom prst="rect">
            <a:avLst/>
          </a:prstGeom>
        </p:spPr>
        <p:txBody>
          <a:bodyPr>
            <a:spAutoFit/>
          </a:bodyPr>
          <a:lstStyle>
            <a:lvl1pPr>
              <a:defRPr sz="1200">
                <a:solidFill>
                  <a:schemeClr val="bg1"/>
                </a:solidFill>
              </a:defRPr>
            </a:lvl1pPr>
          </a:lstStyle>
          <a:p>
            <a:r>
              <a:rPr lang="en-US" noProof="0"/>
              <a:t>01.23.2023</a:t>
            </a:r>
            <a:endParaRPr lang="en-US" noProof="0" dirty="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291798"/>
            <a:ext cx="5235824"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
        <p:nvSpPr>
          <p:cNvPr id="8" name="Text Placeholder 9">
            <a:extLst>
              <a:ext uri="{FF2B5EF4-FFF2-40B4-BE49-F238E27FC236}">
                <a16:creationId xmlns:a16="http://schemas.microsoft.com/office/drawing/2014/main" id="{19005A2F-AF89-0A82-F2C1-1431F42F8E6F}"/>
              </a:ext>
            </a:extLst>
          </p:cNvPr>
          <p:cNvSpPr>
            <a:spLocks noGrp="1"/>
          </p:cNvSpPr>
          <p:nvPr>
            <p:ph type="body" sz="quarter" idx="19" hasCustomPrompt="1"/>
          </p:nvPr>
        </p:nvSpPr>
        <p:spPr>
          <a:xfrm>
            <a:off x="11295111" y="5981426"/>
            <a:ext cx="508274" cy="508274"/>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dirty="0"/>
              <a:t> </a:t>
            </a:r>
            <a:endParaRPr lang="en-US" dirty="0"/>
          </a:p>
        </p:txBody>
      </p:sp>
      <p:pic>
        <p:nvPicPr>
          <p:cNvPr id="10" name="Graphic 9">
            <a:extLst>
              <a:ext uri="{FF2B5EF4-FFF2-40B4-BE49-F238E27FC236}">
                <a16:creationId xmlns:a16="http://schemas.microsoft.com/office/drawing/2014/main" id="{8FD2383E-F2A3-4344-BF2A-B1866225DB1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5515" y="6410506"/>
            <a:ext cx="1062384" cy="103228"/>
          </a:xfrm>
          <a:prstGeom prst="rect">
            <a:avLst/>
          </a:prstGeom>
        </p:spPr>
      </p:pic>
      <p:sp>
        <p:nvSpPr>
          <p:cNvPr id="13" name="Textfeld 8">
            <a:extLst>
              <a:ext uri="{FF2B5EF4-FFF2-40B4-BE49-F238E27FC236}">
                <a16:creationId xmlns:a16="http://schemas.microsoft.com/office/drawing/2014/main" id="{66A011C0-AC1F-4692-B8FD-A82567E112DE}"/>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4" name="Textfeld 8">
            <a:extLst>
              <a:ext uri="{FF2B5EF4-FFF2-40B4-BE49-F238E27FC236}">
                <a16:creationId xmlns:a16="http://schemas.microsoft.com/office/drawing/2014/main" id="{DAFF4083-7B02-400C-89B7-26EAB6B6078C}"/>
              </a:ext>
            </a:extLst>
          </p:cNvPr>
          <p:cNvSpPr txBox="1"/>
          <p:nvPr userDrawn="1"/>
        </p:nvSpPr>
        <p:spPr>
          <a:xfrm>
            <a:off x="2472508"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solidFill>
                <a:latin typeface="+mn-lt"/>
                <a:ea typeface="+mn-ea"/>
                <a:cs typeface="Calibri Light" panose="020F0302020204030204" pitchFamily="34" charset="0"/>
              </a:rPr>
              <a:t>mm.dd.yyyy</a:t>
            </a:r>
            <a:endParaRPr lang="en-US" sz="800" kern="1200" noProof="0" dirty="0">
              <a:solidFill>
                <a:schemeClr val="tx1"/>
              </a:solidFill>
              <a:latin typeface="+mn-lt"/>
              <a:ea typeface="+mn-ea"/>
              <a:cs typeface="Calibri Light" panose="020F0302020204030204" pitchFamily="34" charset="0"/>
            </a:endParaRPr>
          </a:p>
        </p:txBody>
      </p:sp>
    </p:spTree>
    <p:extLst>
      <p:ext uri="{BB962C8B-B14F-4D97-AF65-F5344CB8AC3E}">
        <p14:creationId xmlns:p14="http://schemas.microsoft.com/office/powerpoint/2010/main" val="2942352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op Picture and Tex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0424574-F2EF-6F0F-6985-FE797AF04F1E}"/>
              </a:ext>
            </a:extLst>
          </p:cNvPr>
          <p:cNvGraphicFramePr>
            <a:graphicFrameLocks noChangeAspect="1"/>
          </p:cNvGraphicFramePr>
          <p:nvPr>
            <p:custDataLst>
              <p:tags r:id="rId1"/>
            </p:custDataLst>
            <p:extLst>
              <p:ext uri="{D42A27DB-BD31-4B8C-83A1-F6EECF244321}">
                <p14:modId xmlns:p14="http://schemas.microsoft.com/office/powerpoint/2010/main" val="47129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6" name="Object 15" hidden="1">
                        <a:extLst>
                          <a:ext uri="{FF2B5EF4-FFF2-40B4-BE49-F238E27FC236}">
                            <a16:creationId xmlns:a16="http://schemas.microsoft.com/office/drawing/2014/main" id="{B0424574-F2EF-6F0F-6985-FE797AF04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5D1B4D5C-2621-759C-671D-04FC1FE6F76F}"/>
              </a:ext>
            </a:extLst>
          </p:cNvPr>
          <p:cNvSpPr>
            <a:spLocks noGrp="1"/>
          </p:cNvSpPr>
          <p:nvPr>
            <p:ph type="pic" sz="quarter" idx="15"/>
          </p:nvPr>
        </p:nvSpPr>
        <p:spPr>
          <a:xfrm>
            <a:off x="-1" y="0"/>
            <a:ext cx="12192000" cy="3429000"/>
          </a:xfrm>
        </p:spPr>
        <p:txBody>
          <a:bodyPr/>
          <a:lstStyle/>
          <a:p>
            <a:r>
              <a:rPr lang="en-US"/>
              <a:t>Click icon to add picture</a:t>
            </a:r>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4555894"/>
            <a:ext cx="5609529" cy="1357544"/>
          </a:xfrm>
        </p:spPr>
        <p:txBody>
          <a:bodyPr>
            <a:noAutofit/>
          </a:bodyPr>
          <a:lstStyle>
            <a:lvl1pPr>
              <a:defRPr/>
            </a:lvl1pPr>
            <a:lvl5pPr>
              <a:defRPr/>
            </a:lvl5pPr>
            <a:lvl6pPr marL="0" indent="0">
              <a:buFontTx/>
              <a:buNone/>
              <a:defRPr sz="1400"/>
            </a:lvl6pPr>
          </a:lstStyle>
          <a:p>
            <a:pPr lvl="0"/>
            <a:r>
              <a:rPr lang="en-GB" noProof="0" dirty="0"/>
              <a:t>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4"/>
            <a:endParaRPr lang="en-US"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386459" y="3733924"/>
            <a:ext cx="11419082" cy="283219"/>
          </a:xfrm>
        </p:spPr>
        <p:txBody>
          <a:bodyPr vert="horz"/>
          <a:lstStyle>
            <a:lvl1pPr>
              <a:defRPr/>
            </a:lvl1pPr>
          </a:lstStyle>
          <a:p>
            <a:r>
              <a:rPr lang="en-US" noProof="0" dirty="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4555894"/>
            <a:ext cx="5609529" cy="1357544"/>
          </a:xfrm>
        </p:spPr>
        <p:txBody>
          <a:bodyPr>
            <a:noAutofit/>
          </a:bodyPr>
          <a:lstStyle>
            <a:lvl5pPr>
              <a:defRPr/>
            </a:lvl5pPr>
            <a:lvl6pPr marL="0" indent="0">
              <a:buFontTx/>
              <a:buNone/>
              <a:defRPr sz="1400"/>
            </a:lvl6pPr>
          </a:lstStyle>
          <a:p>
            <a:pPr lvl="0"/>
            <a:r>
              <a:rPr lang="en-GB" noProof="0" dirty="0"/>
              <a:t>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platzhalter 3">
            <a:extLst>
              <a:ext uri="{FF2B5EF4-FFF2-40B4-BE49-F238E27FC236}">
                <a16:creationId xmlns:a16="http://schemas.microsoft.com/office/drawing/2014/main" id="{CE19DDA9-5DBE-37E8-5124-73FF70661113}"/>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5" name="Slide Number Placeholder 14">
            <a:extLst>
              <a:ext uri="{FF2B5EF4-FFF2-40B4-BE49-F238E27FC236}">
                <a16:creationId xmlns:a16="http://schemas.microsoft.com/office/drawing/2014/main" id="{59760782-AB04-847E-EAB8-C3D1449B81FD}"/>
              </a:ext>
            </a:extLst>
          </p:cNvPr>
          <p:cNvSpPr>
            <a:spLocks noGrp="1"/>
          </p:cNvSpPr>
          <p:nvPr>
            <p:ph type="sldNum" sz="quarter" idx="18"/>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3999562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ottom Picture and Tex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F39FA74-0166-8C94-DB61-09725ECB42EC}"/>
              </a:ext>
            </a:extLst>
          </p:cNvPr>
          <p:cNvGraphicFramePr>
            <a:graphicFrameLocks noChangeAspect="1"/>
          </p:cNvGraphicFramePr>
          <p:nvPr>
            <p:custDataLst>
              <p:tags r:id="rId1"/>
            </p:custDataLst>
            <p:extLst>
              <p:ext uri="{D42A27DB-BD31-4B8C-83A1-F6EECF244321}">
                <p14:modId xmlns:p14="http://schemas.microsoft.com/office/powerpoint/2010/main" val="1433259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4" name="Object 13" hidden="1">
                        <a:extLst>
                          <a:ext uri="{FF2B5EF4-FFF2-40B4-BE49-F238E27FC236}">
                            <a16:creationId xmlns:a16="http://schemas.microsoft.com/office/drawing/2014/main" id="{1F39FA74-0166-8C94-DB61-09725ECB4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3">
            <a:extLst>
              <a:ext uri="{FF2B5EF4-FFF2-40B4-BE49-F238E27FC236}">
                <a16:creationId xmlns:a16="http://schemas.microsoft.com/office/drawing/2014/main" id="{860B7CEC-0563-34E6-837C-B1F3CC84237B}"/>
              </a:ext>
            </a:extLst>
          </p:cNvPr>
          <p:cNvSpPr>
            <a:spLocks noGrp="1"/>
          </p:cNvSpPr>
          <p:nvPr>
            <p:ph type="pic" sz="quarter" idx="15" hasCustomPrompt="1"/>
          </p:nvPr>
        </p:nvSpPr>
        <p:spPr>
          <a:xfrm>
            <a:off x="-1" y="3429000"/>
            <a:ext cx="12192000" cy="2685361"/>
          </a:xfrm>
          <a:solidFill>
            <a:schemeClr val="bg1"/>
          </a:solidFill>
        </p:spPr>
        <p:txBody>
          <a:bodyPr/>
          <a:lstStyle/>
          <a:p>
            <a:r>
              <a:rPr lang="en-US" noProof="0"/>
              <a:t>Add image by clicking on icon and set image in background</a:t>
            </a:r>
            <a:endParaRPr lang="en-GB" noProof="0" dirty="0"/>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2451"/>
            <a:ext cx="5609529" cy="1470208"/>
          </a:xfrm>
        </p:spPr>
        <p:txBody>
          <a:bodyPr>
            <a:noAutofit/>
          </a:bodyPr>
          <a:lstStyle>
            <a:lvl5pPr>
              <a:defRPr/>
            </a:lvl5pPr>
            <a:lvl6pPr marL="0" indent="0">
              <a:buFontTx/>
              <a:buNone/>
              <a:defRPr sz="1400"/>
            </a:lvl6pPr>
          </a:lstStyle>
          <a:p>
            <a:pPr lvl="0"/>
            <a:r>
              <a:rPr lang="en-GB" noProof="0" dirty="0"/>
              <a:t>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1304926"/>
            <a:ext cx="5609529" cy="1470208"/>
          </a:xfrm>
        </p:spPr>
        <p:txBody>
          <a:bodyPr>
            <a:noAutofit/>
          </a:bodyPr>
          <a:lstStyle>
            <a:lvl5pPr>
              <a:defRPr/>
            </a:lvl5pPr>
            <a:lvl6pPr marL="0" indent="0">
              <a:buFontTx/>
              <a:buNone/>
              <a:defRPr sz="1400"/>
            </a:lvl6pPr>
          </a:lstStyle>
          <a:p>
            <a:pPr lvl="0"/>
            <a:r>
              <a:rPr lang="en-GB" noProof="0" dirty="0"/>
              <a:t>Edit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platzhalter 3">
            <a:extLst>
              <a:ext uri="{FF2B5EF4-FFF2-40B4-BE49-F238E27FC236}">
                <a16:creationId xmlns:a16="http://schemas.microsoft.com/office/drawing/2014/main" id="{56CB2845-29EF-A433-7282-343B47161539}"/>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6" name="Text Placeholder 7">
            <a:extLst>
              <a:ext uri="{FF2B5EF4-FFF2-40B4-BE49-F238E27FC236}">
                <a16:creationId xmlns:a16="http://schemas.microsoft.com/office/drawing/2014/main" id="{4FEBA41B-ECC8-664F-FC66-E7D0361A9833}"/>
              </a:ext>
            </a:extLst>
          </p:cNvPr>
          <p:cNvSpPr>
            <a:spLocks noGrp="1" noChangeAspect="1"/>
          </p:cNvSpPr>
          <p:nvPr>
            <p:ph type="body" sz="quarter" idx="35" hasCustomPrompt="1"/>
          </p:nvPr>
        </p:nvSpPr>
        <p:spPr>
          <a:xfrm>
            <a:off x="11523000" y="6201700"/>
            <a:ext cx="288000" cy="288000"/>
          </a:xfrm>
          <a:blipFill>
            <a:blip r:embed="rId5"/>
            <a:stretch>
              <a:fillRect/>
            </a:stretch>
          </a:blipFill>
        </p:spPr>
        <p:txBody>
          <a:bodyPr/>
          <a:lstStyle>
            <a:lvl1pPr>
              <a:defRPr sz="100"/>
            </a:lvl1pPr>
          </a:lstStyle>
          <a:p>
            <a:pPr lvl="0"/>
            <a:r>
              <a:rPr lang="de-DE" dirty="0"/>
              <a:t> </a:t>
            </a:r>
            <a:endParaRPr lang="en-US" dirty="0"/>
          </a:p>
        </p:txBody>
      </p:sp>
      <p:sp>
        <p:nvSpPr>
          <p:cNvPr id="8" name="Slide Number Placeholder 7">
            <a:extLst>
              <a:ext uri="{FF2B5EF4-FFF2-40B4-BE49-F238E27FC236}">
                <a16:creationId xmlns:a16="http://schemas.microsoft.com/office/drawing/2014/main" id="{ECCC727E-B726-450A-903C-CA0C990EE3CB}"/>
              </a:ext>
            </a:extLst>
          </p:cNvPr>
          <p:cNvSpPr>
            <a:spLocks noGrp="1"/>
          </p:cNvSpPr>
          <p:nvPr>
            <p:ph type="sldNum" sz="quarter" idx="37"/>
          </p:nvPr>
        </p:nvSpPr>
        <p:spPr/>
        <p:txBody>
          <a:bodyPr/>
          <a:lstStyle/>
          <a:p>
            <a:fld id="{A115CDC9-74CB-4F6C-8CD3-A6C89F254EE7}" type="slidenum">
              <a:rPr lang="en-US" smtClean="0"/>
              <a:pPr/>
              <a:t>‹#›</a:t>
            </a:fld>
            <a:endParaRPr lang="en-US" dirty="0"/>
          </a:p>
        </p:txBody>
      </p:sp>
      <p:sp>
        <p:nvSpPr>
          <p:cNvPr id="10" name="Textfeld 8">
            <a:extLst>
              <a:ext uri="{FF2B5EF4-FFF2-40B4-BE49-F238E27FC236}">
                <a16:creationId xmlns:a16="http://schemas.microsoft.com/office/drawing/2014/main" id="{B0244ECF-F628-4FAC-8AEA-9A724D691132}"/>
              </a:ext>
            </a:extLst>
          </p:cNvPr>
          <p:cNvSpPr txBox="1"/>
          <p:nvPr userDrawn="1"/>
        </p:nvSpPr>
        <p:spPr>
          <a:xfrm>
            <a:off x="3438144"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Pathway to carbon free concrete - OACI  - Ignacio Cariaga</a:t>
            </a:r>
          </a:p>
        </p:txBody>
      </p:sp>
      <p:sp>
        <p:nvSpPr>
          <p:cNvPr id="11" name="Textfeld 8">
            <a:extLst>
              <a:ext uri="{FF2B5EF4-FFF2-40B4-BE49-F238E27FC236}">
                <a16:creationId xmlns:a16="http://schemas.microsoft.com/office/drawing/2014/main" id="{4D1FF689-5CC5-4A5A-9D3F-877295A162DB}"/>
              </a:ext>
            </a:extLst>
          </p:cNvPr>
          <p:cNvSpPr txBox="1"/>
          <p:nvPr userDrawn="1"/>
        </p:nvSpPr>
        <p:spPr>
          <a:xfrm>
            <a:off x="2514600"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02-09-2023</a:t>
            </a:r>
          </a:p>
        </p:txBody>
      </p:sp>
    </p:spTree>
    <p:extLst>
      <p:ext uri="{BB962C8B-B14F-4D97-AF65-F5344CB8AC3E}">
        <p14:creationId xmlns:p14="http://schemas.microsoft.com/office/powerpoint/2010/main" val="2056340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4 Pictures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extLst>
              <p:ext uri="{D42A27DB-BD31-4B8C-83A1-F6EECF244321}">
                <p14:modId xmlns:p14="http://schemas.microsoft.com/office/powerpoint/2010/main" val="411737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2F6DA52E-E922-7AD0-7D98-1428F1C35503}"/>
              </a:ext>
            </a:extLst>
          </p:cNvPr>
          <p:cNvSpPr>
            <a:spLocks noGrp="1"/>
          </p:cNvSpPr>
          <p:nvPr>
            <p:ph type="pic" sz="quarter" idx="17"/>
          </p:nvPr>
        </p:nvSpPr>
        <p:spPr>
          <a:xfrm>
            <a:off x="382588" y="1348508"/>
            <a:ext cx="2701925" cy="1703515"/>
          </a:xfrm>
        </p:spPr>
        <p:txBody>
          <a:bodyPr/>
          <a:lstStyle/>
          <a:p>
            <a:r>
              <a:rPr lang="en-US"/>
              <a:t>Click icon to add picture</a:t>
            </a:r>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2588" y="3834614"/>
            <a:ext cx="2701925" cy="2078823"/>
          </a:xfrm>
        </p:spPr>
        <p:txBody>
          <a:bodyPr tIns="72000">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295650" y="3834614"/>
            <a:ext cx="2700111"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92838" y="3834614"/>
            <a:ext cx="2700338"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2" y="3834614"/>
            <a:ext cx="2706687"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Picture Placeholder 18">
            <a:extLst>
              <a:ext uri="{FF2B5EF4-FFF2-40B4-BE49-F238E27FC236}">
                <a16:creationId xmlns:a16="http://schemas.microsoft.com/office/drawing/2014/main" id="{F154C221-9C00-ECDE-F668-E674D81FB98B}"/>
              </a:ext>
            </a:extLst>
          </p:cNvPr>
          <p:cNvSpPr>
            <a:spLocks noGrp="1"/>
          </p:cNvSpPr>
          <p:nvPr>
            <p:ph type="pic" sz="quarter" idx="18"/>
          </p:nvPr>
        </p:nvSpPr>
        <p:spPr>
          <a:xfrm>
            <a:off x="3295650" y="1340768"/>
            <a:ext cx="2700338" cy="1703515"/>
          </a:xfrm>
        </p:spPr>
        <p:txBody>
          <a:bodyPr/>
          <a:lstStyle/>
          <a:p>
            <a:r>
              <a:rPr lang="en-US"/>
              <a:t>Click icon to add picture</a:t>
            </a:r>
            <a:endParaRPr lang="en-US" dirty="0"/>
          </a:p>
        </p:txBody>
      </p:sp>
      <p:sp>
        <p:nvSpPr>
          <p:cNvPr id="21" name="Picture Placeholder 18">
            <a:extLst>
              <a:ext uri="{FF2B5EF4-FFF2-40B4-BE49-F238E27FC236}">
                <a16:creationId xmlns:a16="http://schemas.microsoft.com/office/drawing/2014/main" id="{5C60685B-D5AC-71CD-B49B-D9AECE0F7438}"/>
              </a:ext>
            </a:extLst>
          </p:cNvPr>
          <p:cNvSpPr>
            <a:spLocks noGrp="1"/>
          </p:cNvSpPr>
          <p:nvPr>
            <p:ph type="pic" sz="quarter" idx="19"/>
          </p:nvPr>
        </p:nvSpPr>
        <p:spPr>
          <a:xfrm>
            <a:off x="6192838" y="1340768"/>
            <a:ext cx="2700338" cy="1703515"/>
          </a:xfrm>
        </p:spPr>
        <p:txBody>
          <a:bodyPr/>
          <a:lstStyle/>
          <a:p>
            <a:r>
              <a:rPr lang="en-US"/>
              <a:t>Click icon to add picture</a:t>
            </a:r>
          </a:p>
        </p:txBody>
      </p:sp>
      <p:sp>
        <p:nvSpPr>
          <p:cNvPr id="22" name="Picture Placeholder 18">
            <a:extLst>
              <a:ext uri="{FF2B5EF4-FFF2-40B4-BE49-F238E27FC236}">
                <a16:creationId xmlns:a16="http://schemas.microsoft.com/office/drawing/2014/main" id="{8CDD6BF0-123C-5B2D-F772-3B6E8C0B8090}"/>
              </a:ext>
            </a:extLst>
          </p:cNvPr>
          <p:cNvSpPr>
            <a:spLocks noGrp="1"/>
          </p:cNvSpPr>
          <p:nvPr>
            <p:ph type="pic" sz="quarter" idx="20"/>
          </p:nvPr>
        </p:nvSpPr>
        <p:spPr>
          <a:xfrm>
            <a:off x="9104312" y="1340768"/>
            <a:ext cx="2706687" cy="1703515"/>
          </a:xfrm>
        </p:spPr>
        <p:txBody>
          <a:bodyPr/>
          <a:lstStyle/>
          <a:p>
            <a:r>
              <a:rPr lang="en-US"/>
              <a:t>Click icon to add picture</a:t>
            </a:r>
            <a:endParaRPr lang="en-US" dirty="0"/>
          </a:p>
        </p:txBody>
      </p:sp>
      <p:sp>
        <p:nvSpPr>
          <p:cNvPr id="24" name="Text Placeholder 23">
            <a:extLst>
              <a:ext uri="{FF2B5EF4-FFF2-40B4-BE49-F238E27FC236}">
                <a16:creationId xmlns:a16="http://schemas.microsoft.com/office/drawing/2014/main" id="{1B3A694E-5CDB-D14C-28EC-3F759D36336E}"/>
              </a:ext>
            </a:extLst>
          </p:cNvPr>
          <p:cNvSpPr>
            <a:spLocks noGrp="1"/>
          </p:cNvSpPr>
          <p:nvPr>
            <p:ph type="body" sz="quarter" idx="21" hasCustomPrompt="1"/>
          </p:nvPr>
        </p:nvSpPr>
        <p:spPr>
          <a:xfrm>
            <a:off x="382588" y="3524249"/>
            <a:ext cx="2701925" cy="310365"/>
          </a:xfrm>
        </p:spPr>
        <p:txBody>
          <a:bodyPr vert="horz"/>
          <a:lstStyle>
            <a:lvl1pPr marL="0" indent="0">
              <a:buFontTx/>
              <a:buNone/>
              <a:defRPr sz="2000">
                <a:solidFill>
                  <a:schemeClr val="tx2"/>
                </a:solidFill>
                <a:latin typeface="+mj-lt"/>
              </a:defRPr>
            </a:lvl1pPr>
          </a:lstStyle>
          <a:p>
            <a:pPr lvl="0"/>
            <a:r>
              <a:rPr lang="en-US"/>
              <a:t>1.</a:t>
            </a:r>
            <a:endParaRPr lang="en-US" dirty="0"/>
          </a:p>
        </p:txBody>
      </p:sp>
      <p:sp>
        <p:nvSpPr>
          <p:cNvPr id="25" name="Text Placeholder 23">
            <a:extLst>
              <a:ext uri="{FF2B5EF4-FFF2-40B4-BE49-F238E27FC236}">
                <a16:creationId xmlns:a16="http://schemas.microsoft.com/office/drawing/2014/main" id="{873F4DC0-10C2-7B88-9543-7D95ECD7B0D2}"/>
              </a:ext>
            </a:extLst>
          </p:cNvPr>
          <p:cNvSpPr>
            <a:spLocks noGrp="1"/>
          </p:cNvSpPr>
          <p:nvPr>
            <p:ph type="body" sz="quarter" idx="22" hasCustomPrompt="1"/>
          </p:nvPr>
        </p:nvSpPr>
        <p:spPr>
          <a:xfrm>
            <a:off x="3295650" y="3524249"/>
            <a:ext cx="2700111" cy="310365"/>
          </a:xfrm>
        </p:spPr>
        <p:txBody>
          <a:bodyPr vert="horz"/>
          <a:lstStyle>
            <a:lvl1pPr marL="0" indent="0">
              <a:buFontTx/>
              <a:buNone/>
              <a:defRPr sz="2000">
                <a:solidFill>
                  <a:schemeClr val="tx2"/>
                </a:solidFill>
                <a:latin typeface="+mj-lt"/>
              </a:defRPr>
            </a:lvl1pPr>
          </a:lstStyle>
          <a:p>
            <a:pPr lvl="0"/>
            <a:r>
              <a:rPr lang="en-US"/>
              <a:t>1.</a:t>
            </a:r>
            <a:endParaRPr lang="en-US" dirty="0"/>
          </a:p>
        </p:txBody>
      </p:sp>
      <p:sp>
        <p:nvSpPr>
          <p:cNvPr id="26" name="Text Placeholder 23">
            <a:extLst>
              <a:ext uri="{FF2B5EF4-FFF2-40B4-BE49-F238E27FC236}">
                <a16:creationId xmlns:a16="http://schemas.microsoft.com/office/drawing/2014/main" id="{C554B584-0BBC-032E-DAF5-922382F6C62A}"/>
              </a:ext>
            </a:extLst>
          </p:cNvPr>
          <p:cNvSpPr>
            <a:spLocks noGrp="1"/>
          </p:cNvSpPr>
          <p:nvPr>
            <p:ph type="body" sz="quarter" idx="23" hasCustomPrompt="1"/>
          </p:nvPr>
        </p:nvSpPr>
        <p:spPr>
          <a:xfrm>
            <a:off x="6192838" y="3524249"/>
            <a:ext cx="2700338" cy="310365"/>
          </a:xfrm>
        </p:spPr>
        <p:txBody>
          <a:bodyPr vert="horz"/>
          <a:lstStyle>
            <a:lvl1pPr marL="0" indent="0">
              <a:buFontTx/>
              <a:buNone/>
              <a:defRPr sz="2000">
                <a:solidFill>
                  <a:schemeClr val="tx2"/>
                </a:solidFill>
                <a:latin typeface="+mj-lt"/>
              </a:defRPr>
            </a:lvl1pPr>
          </a:lstStyle>
          <a:p>
            <a:pPr lvl="0"/>
            <a:r>
              <a:rPr lang="en-US"/>
              <a:t>1.</a:t>
            </a:r>
            <a:endParaRPr lang="en-US" dirty="0"/>
          </a:p>
        </p:txBody>
      </p:sp>
      <p:sp>
        <p:nvSpPr>
          <p:cNvPr id="27" name="Text Placeholder 23">
            <a:extLst>
              <a:ext uri="{FF2B5EF4-FFF2-40B4-BE49-F238E27FC236}">
                <a16:creationId xmlns:a16="http://schemas.microsoft.com/office/drawing/2014/main" id="{05B6CA0D-4194-3D94-49CE-56F6E0548F62}"/>
              </a:ext>
            </a:extLst>
          </p:cNvPr>
          <p:cNvSpPr>
            <a:spLocks noGrp="1"/>
          </p:cNvSpPr>
          <p:nvPr>
            <p:ph type="body" sz="quarter" idx="24" hasCustomPrompt="1"/>
          </p:nvPr>
        </p:nvSpPr>
        <p:spPr>
          <a:xfrm>
            <a:off x="9104312" y="3524249"/>
            <a:ext cx="2706687" cy="310365"/>
          </a:xfrm>
        </p:spPr>
        <p:txBody>
          <a:bodyPr vert="horz"/>
          <a:lstStyle>
            <a:lvl1pPr marL="0" indent="0">
              <a:buFontTx/>
              <a:buNone/>
              <a:defRPr sz="2000">
                <a:solidFill>
                  <a:schemeClr val="tx2"/>
                </a:solidFill>
                <a:latin typeface="+mj-lt"/>
              </a:defRPr>
            </a:lvl1pPr>
          </a:lstStyle>
          <a:p>
            <a:pPr lvl="0"/>
            <a:r>
              <a:rPr lang="en-US"/>
              <a:t>1.</a:t>
            </a:r>
            <a:endParaRPr lang="en-US" dirty="0"/>
          </a:p>
        </p:txBody>
      </p:sp>
      <p:sp>
        <p:nvSpPr>
          <p:cNvPr id="5" name="Textplatzhalter 3">
            <a:extLst>
              <a:ext uri="{FF2B5EF4-FFF2-40B4-BE49-F238E27FC236}">
                <a16:creationId xmlns:a16="http://schemas.microsoft.com/office/drawing/2014/main" id="{A0589B6B-456C-4B95-EBBD-4B9E3A69E175}"/>
              </a:ext>
            </a:extLst>
          </p:cNvPr>
          <p:cNvSpPr>
            <a:spLocks noGrp="1"/>
          </p:cNvSpPr>
          <p:nvPr>
            <p:ph type="body" sz="quarter" idx="2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7" name="Slide Number Placeholder 16">
            <a:extLst>
              <a:ext uri="{FF2B5EF4-FFF2-40B4-BE49-F238E27FC236}">
                <a16:creationId xmlns:a16="http://schemas.microsoft.com/office/drawing/2014/main" id="{41416E14-843D-C14D-E754-7B98FADC2A78}"/>
              </a:ext>
            </a:extLst>
          </p:cNvPr>
          <p:cNvSpPr>
            <a:spLocks noGrp="1"/>
          </p:cNvSpPr>
          <p:nvPr>
            <p:ph type="sldNum" sz="quarter" idx="28"/>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26883629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 Icons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extLst>
              <p:ext uri="{D42A27DB-BD31-4B8C-83A1-F6EECF244321}">
                <p14:modId xmlns:p14="http://schemas.microsoft.com/office/powerpoint/2010/main" val="89747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dirty="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dirty="0"/>
              <a:t>12 </a:t>
            </a:r>
            <a:r>
              <a:rPr lang="en-GB" noProof="0" dirty="0" err="1"/>
              <a:t>pt</a:t>
            </a:r>
            <a:r>
              <a:rPr lang="en-GB" noProof="0" dirty="0"/>
              <a:t>, 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Inhaltsplatzhalter 2">
            <a:extLst>
              <a:ext uri="{FF2B5EF4-FFF2-40B4-BE49-F238E27FC236}">
                <a16:creationId xmlns:a16="http://schemas.microsoft.com/office/drawing/2014/main" id="{4DDC6663-B6D5-34CB-85D0-587C01476871}"/>
              </a:ext>
            </a:extLst>
          </p:cNvPr>
          <p:cNvSpPr>
            <a:spLocks noGrp="1"/>
          </p:cNvSpPr>
          <p:nvPr>
            <p:ph idx="23" hasCustomPrompt="1"/>
          </p:nvPr>
        </p:nvSpPr>
        <p:spPr>
          <a:xfrm>
            <a:off x="386459" y="1304925"/>
            <a:ext cx="7551041" cy="1456519"/>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dirty="0"/>
              <a:t>Edit master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platzhalter 3">
            <a:extLst>
              <a:ext uri="{FF2B5EF4-FFF2-40B4-BE49-F238E27FC236}">
                <a16:creationId xmlns:a16="http://schemas.microsoft.com/office/drawing/2014/main" id="{C5B66EB2-614F-6E84-AD42-6CCDDAD2F0C2}"/>
              </a:ext>
            </a:extLst>
          </p:cNvPr>
          <p:cNvSpPr>
            <a:spLocks noGrp="1"/>
          </p:cNvSpPr>
          <p:nvPr>
            <p:ph type="body" sz="quarter" idx="2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endParaRPr lang="en-US" dirty="0"/>
          </a:p>
        </p:txBody>
      </p:sp>
      <p:sp>
        <p:nvSpPr>
          <p:cNvPr id="18" name="Slide Number Placeholder 17">
            <a:extLst>
              <a:ext uri="{FF2B5EF4-FFF2-40B4-BE49-F238E27FC236}">
                <a16:creationId xmlns:a16="http://schemas.microsoft.com/office/drawing/2014/main" id="{F576B3DF-FC09-D249-5FC8-97ADDA1782D8}"/>
              </a:ext>
            </a:extLst>
          </p:cNvPr>
          <p:cNvSpPr>
            <a:spLocks noGrp="1"/>
          </p:cNvSpPr>
          <p:nvPr>
            <p:ph type="sldNum" sz="quarter" idx="27"/>
          </p:nvPr>
        </p:nvSpPr>
        <p:spPr/>
        <p:txBody>
          <a:bodyPr/>
          <a:lstStyle/>
          <a:p>
            <a:fld id="{A115CDC9-74CB-4F6C-8CD3-A6C89F254EE7}" type="slidenum">
              <a:rPr lang="en-US" smtClean="0"/>
              <a:pPr/>
              <a:t>‹#›</a:t>
            </a:fld>
            <a:endParaRPr lang="en-US" dirty="0"/>
          </a:p>
        </p:txBody>
      </p:sp>
      <p:sp>
        <p:nvSpPr>
          <p:cNvPr id="8" name="Inhaltsplatzhalter 7">
            <a:extLst>
              <a:ext uri="{FF2B5EF4-FFF2-40B4-BE49-F238E27FC236}">
                <a16:creationId xmlns:a16="http://schemas.microsoft.com/office/drawing/2014/main" id="{D090F96E-FC7C-6FA8-99D8-941C4867F024}"/>
              </a:ext>
            </a:extLst>
          </p:cNvPr>
          <p:cNvSpPr>
            <a:spLocks noGrp="1"/>
          </p:cNvSpPr>
          <p:nvPr>
            <p:ph sz="quarter" idx="28" hasCustomPrompt="1"/>
          </p:nvPr>
        </p:nvSpPr>
        <p:spPr>
          <a:xfrm>
            <a:off x="386461" y="3076127"/>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dirty="0"/>
              <a:t>Click picture icon to add picture</a:t>
            </a:r>
          </a:p>
          <a:p>
            <a:pPr lvl="0"/>
            <a:endParaRPr lang="en-US" dirty="0"/>
          </a:p>
        </p:txBody>
      </p:sp>
      <p:sp>
        <p:nvSpPr>
          <p:cNvPr id="9" name="Inhaltsplatzhalter 7">
            <a:extLst>
              <a:ext uri="{FF2B5EF4-FFF2-40B4-BE49-F238E27FC236}">
                <a16:creationId xmlns:a16="http://schemas.microsoft.com/office/drawing/2014/main" id="{86244F86-9035-D0F2-5320-024C51DBC451}"/>
              </a:ext>
            </a:extLst>
          </p:cNvPr>
          <p:cNvSpPr>
            <a:spLocks noGrp="1"/>
          </p:cNvSpPr>
          <p:nvPr>
            <p:ph sz="quarter" idx="29" hasCustomPrompt="1"/>
          </p:nvPr>
        </p:nvSpPr>
        <p:spPr>
          <a:xfrm>
            <a:off x="2707369" y="3076127"/>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dirty="0"/>
              <a:t>Click picture icon to add picture</a:t>
            </a:r>
          </a:p>
          <a:p>
            <a:pPr lvl="0"/>
            <a:endParaRPr lang="en-US" dirty="0"/>
          </a:p>
        </p:txBody>
      </p:sp>
      <p:sp>
        <p:nvSpPr>
          <p:cNvPr id="14" name="Inhaltsplatzhalter 7">
            <a:extLst>
              <a:ext uri="{FF2B5EF4-FFF2-40B4-BE49-F238E27FC236}">
                <a16:creationId xmlns:a16="http://schemas.microsoft.com/office/drawing/2014/main" id="{8807641E-F74B-AAAB-DD8A-5C257E55CDE9}"/>
              </a:ext>
            </a:extLst>
          </p:cNvPr>
          <p:cNvSpPr>
            <a:spLocks noGrp="1"/>
          </p:cNvSpPr>
          <p:nvPr>
            <p:ph sz="quarter" idx="30" hasCustomPrompt="1"/>
          </p:nvPr>
        </p:nvSpPr>
        <p:spPr>
          <a:xfrm>
            <a:off x="5028277" y="3076127"/>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dirty="0"/>
              <a:t>Click picture icon to add picture</a:t>
            </a:r>
          </a:p>
          <a:p>
            <a:pPr lvl="0"/>
            <a:endParaRPr lang="en-US" dirty="0"/>
          </a:p>
        </p:txBody>
      </p:sp>
      <p:sp>
        <p:nvSpPr>
          <p:cNvPr id="15" name="Inhaltsplatzhalter 7">
            <a:extLst>
              <a:ext uri="{FF2B5EF4-FFF2-40B4-BE49-F238E27FC236}">
                <a16:creationId xmlns:a16="http://schemas.microsoft.com/office/drawing/2014/main" id="{8282D2F6-CF2C-5260-ED14-63697734FF88}"/>
              </a:ext>
            </a:extLst>
          </p:cNvPr>
          <p:cNvSpPr>
            <a:spLocks noGrp="1"/>
          </p:cNvSpPr>
          <p:nvPr>
            <p:ph sz="quarter" idx="31" hasCustomPrompt="1"/>
          </p:nvPr>
        </p:nvSpPr>
        <p:spPr>
          <a:xfrm>
            <a:off x="7349186" y="3076127"/>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dirty="0"/>
              <a:t>Click picture icon to add picture</a:t>
            </a:r>
          </a:p>
          <a:p>
            <a:pPr lvl="0"/>
            <a:endParaRPr lang="en-US" dirty="0"/>
          </a:p>
        </p:txBody>
      </p:sp>
      <p:sp>
        <p:nvSpPr>
          <p:cNvPr id="16" name="Inhaltsplatzhalter 7">
            <a:extLst>
              <a:ext uri="{FF2B5EF4-FFF2-40B4-BE49-F238E27FC236}">
                <a16:creationId xmlns:a16="http://schemas.microsoft.com/office/drawing/2014/main" id="{3E08D7C1-B1DB-68E3-D54A-886FADA21CFA}"/>
              </a:ext>
            </a:extLst>
          </p:cNvPr>
          <p:cNvSpPr>
            <a:spLocks noGrp="1"/>
          </p:cNvSpPr>
          <p:nvPr>
            <p:ph sz="quarter" idx="32" hasCustomPrompt="1"/>
          </p:nvPr>
        </p:nvSpPr>
        <p:spPr>
          <a:xfrm>
            <a:off x="9670094" y="3076127"/>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dirty="0"/>
              <a:t>Click picture icon to add picture</a:t>
            </a:r>
          </a:p>
          <a:p>
            <a:pPr lvl="0"/>
            <a:endParaRPr lang="en-US" dirty="0"/>
          </a:p>
        </p:txBody>
      </p:sp>
    </p:spTree>
    <p:extLst>
      <p:ext uri="{BB962C8B-B14F-4D97-AF65-F5344CB8AC3E}">
        <p14:creationId xmlns:p14="http://schemas.microsoft.com/office/powerpoint/2010/main" val="1026742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Highlight 1">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B00BC411-3F23-E4AC-165F-A95A3DF97426}"/>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7" name="Text Placeholder 6">
            <a:extLst>
              <a:ext uri="{FF2B5EF4-FFF2-40B4-BE49-F238E27FC236}">
                <a16:creationId xmlns:a16="http://schemas.microsoft.com/office/drawing/2014/main" id="{9B8F25BA-90C8-450A-22DF-29F41BD7A945}"/>
              </a:ext>
            </a:extLst>
          </p:cNvPr>
          <p:cNvSpPr>
            <a:spLocks noGrp="1"/>
          </p:cNvSpPr>
          <p:nvPr>
            <p:ph type="body" sz="quarter" idx="37" hasCustomPrompt="1"/>
          </p:nvPr>
        </p:nvSpPr>
        <p:spPr>
          <a:xfrm>
            <a:off x="6953251" y="1304925"/>
            <a:ext cx="4857750" cy="4416425"/>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GB" dirty="0"/>
              <a:t> </a:t>
            </a:r>
          </a:p>
        </p:txBody>
      </p:sp>
      <p:graphicFrame>
        <p:nvGraphicFramePr>
          <p:cNvPr id="4" name="Object 3" hidden="1">
            <a:extLst>
              <a:ext uri="{FF2B5EF4-FFF2-40B4-BE49-F238E27FC236}">
                <a16:creationId xmlns:a16="http://schemas.microsoft.com/office/drawing/2014/main" id="{9AB24ABB-D355-D0A9-EE49-77475477C739}"/>
              </a:ext>
            </a:extLst>
          </p:cNvPr>
          <p:cNvGraphicFramePr>
            <a:graphicFrameLocks noChangeAspect="1"/>
          </p:cNvGraphicFramePr>
          <p:nvPr>
            <p:custDataLst>
              <p:tags r:id="rId1"/>
            </p:custDataLst>
            <p:extLst>
              <p:ext uri="{D42A27DB-BD31-4B8C-83A1-F6EECF244321}">
                <p14:modId xmlns:p14="http://schemas.microsoft.com/office/powerpoint/2010/main" val="2419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4" name="Object 3" hidden="1">
                        <a:extLst>
                          <a:ext uri="{FF2B5EF4-FFF2-40B4-BE49-F238E27FC236}">
                            <a16:creationId xmlns:a16="http://schemas.microsoft.com/office/drawing/2014/main" id="{9AB24ABB-D355-D0A9-EE49-77475477C7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7394594" y="1692517"/>
            <a:ext cx="3637852" cy="375186"/>
          </a:xfrm>
        </p:spPr>
        <p:txBody>
          <a:bodyPr>
            <a:noAutofit/>
          </a:bodyPr>
          <a:lstStyle>
            <a:lvl1pPr marL="0" indent="0">
              <a:lnSpc>
                <a:spcPct val="90000"/>
              </a:lnSpc>
              <a:buFontTx/>
              <a:buNone/>
              <a:defRPr sz="1600">
                <a:solidFill>
                  <a:schemeClr val="bg1"/>
                </a:solidFill>
                <a:latin typeface="+mj-lt"/>
              </a:defRPr>
            </a:lvl1pPr>
            <a:lvl6pPr>
              <a:defRPr sz="2000">
                <a:solidFill>
                  <a:schemeClr val="bg1"/>
                </a:solidFill>
                <a:latin typeface="+mj-lt"/>
              </a:defRPr>
            </a:lvl6pPr>
          </a:lstStyle>
          <a:p>
            <a:pPr lvl="0"/>
            <a:r>
              <a:rPr lang="en-US" noProof="0" dirty="0"/>
              <a:t>Cross heading</a:t>
            </a:r>
          </a:p>
        </p:txBody>
      </p:sp>
      <p:sp>
        <p:nvSpPr>
          <p:cNvPr id="29" name="Titel 28">
            <a:extLst>
              <a:ext uri="{FF2B5EF4-FFF2-40B4-BE49-F238E27FC236}">
                <a16:creationId xmlns:a16="http://schemas.microsoft.com/office/drawing/2014/main" id="{5E990F99-D2E6-B9F1-B358-EFD39378068A}"/>
              </a:ext>
            </a:extLst>
          </p:cNvPr>
          <p:cNvSpPr>
            <a:spLocks noGrp="1"/>
          </p:cNvSpPr>
          <p:nvPr>
            <p:ph type="title" hasCustomPrompt="1"/>
          </p:nvPr>
        </p:nvSpPr>
        <p:spPr bwMode="gray"/>
        <p:txBody>
          <a:bodyPr vert="horz"/>
          <a:lstStyle>
            <a:lvl1pPr>
              <a:defRPr/>
            </a:lvl1pPr>
          </a:lstStyle>
          <a:p>
            <a:r>
              <a:rPr lang="en-US" noProof="0" dirty="0"/>
              <a:t>Slide heading</a:t>
            </a:r>
          </a:p>
        </p:txBody>
      </p:sp>
      <p:sp>
        <p:nvSpPr>
          <p:cNvPr id="3" name="Bildplatzhalter 19">
            <a:extLst>
              <a:ext uri="{FF2B5EF4-FFF2-40B4-BE49-F238E27FC236}">
                <a16:creationId xmlns:a16="http://schemas.microsoft.com/office/drawing/2014/main" id="{4C75A432-7C54-E494-5EE2-5BE6666F2F72}"/>
              </a:ext>
            </a:extLst>
          </p:cNvPr>
          <p:cNvSpPr>
            <a:spLocks noGrp="1"/>
          </p:cNvSpPr>
          <p:nvPr>
            <p:ph type="pic" sz="quarter" idx="22"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8" name="Textplatzhalter 13">
            <a:extLst>
              <a:ext uri="{FF2B5EF4-FFF2-40B4-BE49-F238E27FC236}">
                <a16:creationId xmlns:a16="http://schemas.microsoft.com/office/drawing/2014/main" id="{012BE1A2-F337-311F-BBD9-DA732D5CE92D}"/>
              </a:ext>
            </a:extLst>
          </p:cNvPr>
          <p:cNvSpPr>
            <a:spLocks noGrp="1"/>
          </p:cNvSpPr>
          <p:nvPr>
            <p:ph type="body" sz="quarter" idx="23" hasCustomPrompt="1"/>
          </p:nvPr>
        </p:nvSpPr>
        <p:spPr bwMode="gray">
          <a:xfrm>
            <a:off x="7394594" y="2067703"/>
            <a:ext cx="3637852" cy="3037762"/>
          </a:xfrm>
        </p:spPr>
        <p:txBody>
          <a:bodyPr tIns="0">
            <a:noAutofit/>
          </a:bodyPr>
          <a:lstStyle>
            <a:lvl1pPr marL="0" indent="0">
              <a:buFontTx/>
              <a:buNone/>
              <a:defRPr sz="1600">
                <a:solidFill>
                  <a:schemeClr val="bg1"/>
                </a:solidFill>
                <a:latin typeface="+mn-lt"/>
              </a:defRPr>
            </a:lvl1pPr>
            <a:lvl6pPr>
              <a:defRPr sz="2000">
                <a:solidFill>
                  <a:schemeClr val="bg1"/>
                </a:solidFill>
                <a:latin typeface="+mj-lt"/>
              </a:defRPr>
            </a:lvl6pPr>
          </a:lstStyle>
          <a:p>
            <a:pPr lvl="0"/>
            <a:r>
              <a:rPr lang="en-US" noProof="0" dirty="0"/>
              <a:t>Lorem ipsum dolor sit amet, consectetuer adipiscing elit. </a:t>
            </a:r>
          </a:p>
        </p:txBody>
      </p:sp>
      <p:sp>
        <p:nvSpPr>
          <p:cNvPr id="9" name="Textplatzhalter 3">
            <a:extLst>
              <a:ext uri="{FF2B5EF4-FFF2-40B4-BE49-F238E27FC236}">
                <a16:creationId xmlns:a16="http://schemas.microsoft.com/office/drawing/2014/main" id="{AEFD3118-E6B4-75FA-B813-6F8196BBE8FB}"/>
              </a:ext>
            </a:extLst>
          </p:cNvPr>
          <p:cNvSpPr>
            <a:spLocks noGrp="1"/>
          </p:cNvSpPr>
          <p:nvPr>
            <p:ph type="body" sz="quarter" idx="14" hasCustomPrompt="1"/>
          </p:nvPr>
        </p:nvSpPr>
        <p:spPr bwMode="gray">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dirty="0"/>
              <a:t>Topline</a:t>
            </a:r>
          </a:p>
        </p:txBody>
      </p:sp>
      <p:sp>
        <p:nvSpPr>
          <p:cNvPr id="21" name="Slide Number Placeholder 20">
            <a:extLst>
              <a:ext uri="{FF2B5EF4-FFF2-40B4-BE49-F238E27FC236}">
                <a16:creationId xmlns:a16="http://schemas.microsoft.com/office/drawing/2014/main" id="{B99E1411-BEEC-9627-4C7A-F19D4A2BEF9F}"/>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dirty="0"/>
          </a:p>
        </p:txBody>
      </p:sp>
      <p:sp>
        <p:nvSpPr>
          <p:cNvPr id="2" name="Text Placeholder 7">
            <a:extLst>
              <a:ext uri="{FF2B5EF4-FFF2-40B4-BE49-F238E27FC236}">
                <a16:creationId xmlns:a16="http://schemas.microsoft.com/office/drawing/2014/main" id="{A1B7D28D-435A-45D3-D2E3-06BC77D49A4C}"/>
              </a:ext>
            </a:extLst>
          </p:cNvPr>
          <p:cNvSpPr>
            <a:spLocks noGrp="1" noChangeAspect="1"/>
          </p:cNvSpPr>
          <p:nvPr>
            <p:ph type="body" sz="quarter" idx="35" hasCustomPrompt="1"/>
          </p:nvPr>
        </p:nvSpPr>
        <p:spPr>
          <a:xfrm>
            <a:off x="11523000" y="6201700"/>
            <a:ext cx="288000" cy="288000"/>
          </a:xfrm>
          <a:blipFill>
            <a:blip r:embed="rId8"/>
            <a:stretch>
              <a:fillRect/>
            </a:stretch>
          </a:blipFill>
        </p:spPr>
        <p:txBody>
          <a:bodyPr/>
          <a:lstStyle>
            <a:lvl1pPr>
              <a:defRPr sz="100"/>
            </a:lvl1pPr>
          </a:lstStyle>
          <a:p>
            <a:pPr lvl="0"/>
            <a:r>
              <a:rPr lang="de-DE" dirty="0"/>
              <a:t> </a:t>
            </a:r>
            <a:endParaRPr lang="en-US" dirty="0"/>
          </a:p>
        </p:txBody>
      </p:sp>
      <p:pic>
        <p:nvPicPr>
          <p:cNvPr id="17" name="Picture 16">
            <a:extLst>
              <a:ext uri="{FF2B5EF4-FFF2-40B4-BE49-F238E27FC236}">
                <a16:creationId xmlns:a16="http://schemas.microsoft.com/office/drawing/2014/main" id="{4F1F19C8-630D-4FF7-BEFB-8227F4F627E7}"/>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a:off x="10082803" y="6014493"/>
            <a:ext cx="1132513" cy="662413"/>
          </a:xfrm>
          <a:prstGeom prst="rect">
            <a:avLst/>
          </a:prstGeom>
        </p:spPr>
      </p:pic>
      <p:pic>
        <p:nvPicPr>
          <p:cNvPr id="18" name="Picture 17">
            <a:extLst>
              <a:ext uri="{FF2B5EF4-FFF2-40B4-BE49-F238E27FC236}">
                <a16:creationId xmlns:a16="http://schemas.microsoft.com/office/drawing/2014/main" id="{591F2A43-D2EF-4F91-88D2-E5AAEE4E7546}"/>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a:off x="2395582" y="5930046"/>
            <a:ext cx="1132513" cy="662413"/>
          </a:xfrm>
          <a:prstGeom prst="rect">
            <a:avLst/>
          </a:prstGeom>
        </p:spPr>
      </p:pic>
    </p:spTree>
    <p:extLst>
      <p:ext uri="{BB962C8B-B14F-4D97-AF65-F5344CB8AC3E}">
        <p14:creationId xmlns:p14="http://schemas.microsoft.com/office/powerpoint/2010/main" val="30437015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messages 1">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extLst>
              <p:ext uri="{D42A27DB-BD31-4B8C-83A1-F6EECF244321}">
                <p14:modId xmlns:p14="http://schemas.microsoft.com/office/powerpoint/2010/main" val="119396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19878"/>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7" name="Bildplatzhalter 6">
            <a:extLst>
              <a:ext uri="{FF2B5EF4-FFF2-40B4-BE49-F238E27FC236}">
                <a16:creationId xmlns:a16="http://schemas.microsoft.com/office/drawing/2014/main" id="{7D9DD465-DA2D-D889-7408-6A0D3AB0FAAD}"/>
              </a:ext>
            </a:extLst>
          </p:cNvPr>
          <p:cNvSpPr>
            <a:spLocks noGrp="1"/>
          </p:cNvSpPr>
          <p:nvPr>
            <p:ph type="pic" sz="quarter" idx="11"/>
          </p:nvPr>
        </p:nvSpPr>
        <p:spPr bwMode="gray">
          <a:xfrm>
            <a:off x="6192837" y="0"/>
            <a:ext cx="5999163" cy="5913438"/>
          </a:xfrm>
          <a:custGeom>
            <a:avLst/>
            <a:gdLst>
              <a:gd name="connsiteX0" fmla="*/ 0 w 4789647"/>
              <a:gd name="connsiteY0" fmla="*/ 0 h 4440186"/>
              <a:gd name="connsiteX1" fmla="*/ 4789647 w 4789647"/>
              <a:gd name="connsiteY1" fmla="*/ 0 h 4440186"/>
              <a:gd name="connsiteX2" fmla="*/ 4789647 w 4789647"/>
              <a:gd name="connsiteY2" fmla="*/ 4440186 h 4440186"/>
              <a:gd name="connsiteX3" fmla="*/ 1938570 w 4789647"/>
              <a:gd name="connsiteY3" fmla="*/ 4440186 h 4440186"/>
              <a:gd name="connsiteX4" fmla="*/ 1909174 w 4789647"/>
              <a:gd name="connsiteY4" fmla="*/ 4439968 h 4440186"/>
              <a:gd name="connsiteX5" fmla="*/ 1879884 w 4789647"/>
              <a:gd name="connsiteY5" fmla="*/ 4439313 h 4440186"/>
              <a:gd name="connsiteX6" fmla="*/ 1850700 w 4789647"/>
              <a:gd name="connsiteY6" fmla="*/ 4438226 h 4440186"/>
              <a:gd name="connsiteX7" fmla="*/ 1821628 w 4789647"/>
              <a:gd name="connsiteY7" fmla="*/ 4436710 h 4440186"/>
              <a:gd name="connsiteX8" fmla="*/ 1792670 w 4789647"/>
              <a:gd name="connsiteY8" fmla="*/ 4434767 h 4440186"/>
              <a:gd name="connsiteX9" fmla="*/ 1763829 w 4789647"/>
              <a:gd name="connsiteY9" fmla="*/ 4432402 h 4440186"/>
              <a:gd name="connsiteX10" fmla="*/ 1735108 w 4789647"/>
              <a:gd name="connsiteY10" fmla="*/ 4429616 h 4440186"/>
              <a:gd name="connsiteX11" fmla="*/ 1706510 w 4789647"/>
              <a:gd name="connsiteY11" fmla="*/ 4426413 h 4440186"/>
              <a:gd name="connsiteX12" fmla="*/ 1678040 w 4789647"/>
              <a:gd name="connsiteY12" fmla="*/ 4422796 h 4440186"/>
              <a:gd name="connsiteX13" fmla="*/ 1649698 w 4789647"/>
              <a:gd name="connsiteY13" fmla="*/ 4418768 h 4440186"/>
              <a:gd name="connsiteX14" fmla="*/ 1621488 w 4789647"/>
              <a:gd name="connsiteY14" fmla="*/ 4414332 h 4440186"/>
              <a:gd name="connsiteX15" fmla="*/ 1593415 w 4789647"/>
              <a:gd name="connsiteY15" fmla="*/ 4409492 h 4440186"/>
              <a:gd name="connsiteX16" fmla="*/ 1565480 w 4789647"/>
              <a:gd name="connsiteY16" fmla="*/ 4404250 h 4440186"/>
              <a:gd name="connsiteX17" fmla="*/ 1537687 w 4789647"/>
              <a:gd name="connsiteY17" fmla="*/ 4398610 h 4440186"/>
              <a:gd name="connsiteX18" fmla="*/ 1510039 w 4789647"/>
              <a:gd name="connsiteY18" fmla="*/ 4392574 h 4440186"/>
              <a:gd name="connsiteX19" fmla="*/ 1482539 w 4789647"/>
              <a:gd name="connsiteY19" fmla="*/ 4386146 h 4440186"/>
              <a:gd name="connsiteX20" fmla="*/ 1455190 w 4789647"/>
              <a:gd name="connsiteY20" fmla="*/ 4379329 h 4440186"/>
              <a:gd name="connsiteX21" fmla="*/ 1427995 w 4789647"/>
              <a:gd name="connsiteY21" fmla="*/ 4372125 h 4440186"/>
              <a:gd name="connsiteX22" fmla="*/ 1400958 w 4789647"/>
              <a:gd name="connsiteY22" fmla="*/ 4364539 h 4440186"/>
              <a:gd name="connsiteX23" fmla="*/ 1374080 w 4789647"/>
              <a:gd name="connsiteY23" fmla="*/ 4356572 h 4440186"/>
              <a:gd name="connsiteX24" fmla="*/ 1347367 w 4789647"/>
              <a:gd name="connsiteY24" fmla="*/ 4348230 h 4440186"/>
              <a:gd name="connsiteX25" fmla="*/ 1320820 w 4789647"/>
              <a:gd name="connsiteY25" fmla="*/ 4339513 h 4440186"/>
              <a:gd name="connsiteX26" fmla="*/ 1294442 w 4789647"/>
              <a:gd name="connsiteY26" fmla="*/ 4330425 h 4440186"/>
              <a:gd name="connsiteX27" fmla="*/ 1268238 w 4789647"/>
              <a:gd name="connsiteY27" fmla="*/ 4320970 h 4440186"/>
              <a:gd name="connsiteX28" fmla="*/ 1242209 w 4789647"/>
              <a:gd name="connsiteY28" fmla="*/ 4311151 h 4440186"/>
              <a:gd name="connsiteX29" fmla="*/ 1216359 w 4789647"/>
              <a:gd name="connsiteY29" fmla="*/ 4300970 h 4440186"/>
              <a:gd name="connsiteX30" fmla="*/ 1190691 w 4789647"/>
              <a:gd name="connsiteY30" fmla="*/ 4290430 h 4440186"/>
              <a:gd name="connsiteX31" fmla="*/ 1165209 w 4789647"/>
              <a:gd name="connsiteY31" fmla="*/ 4279536 h 4440186"/>
              <a:gd name="connsiteX32" fmla="*/ 1139914 w 4789647"/>
              <a:gd name="connsiteY32" fmla="*/ 4268290 h 4440186"/>
              <a:gd name="connsiteX33" fmla="*/ 1114810 w 4789647"/>
              <a:gd name="connsiteY33" fmla="*/ 4256694 h 4440186"/>
              <a:gd name="connsiteX34" fmla="*/ 1089902 w 4789647"/>
              <a:gd name="connsiteY34" fmla="*/ 4244753 h 4440186"/>
              <a:gd name="connsiteX35" fmla="*/ 1065191 w 4789647"/>
              <a:gd name="connsiteY35" fmla="*/ 4232468 h 4440186"/>
              <a:gd name="connsiteX36" fmla="*/ 1040680 w 4789647"/>
              <a:gd name="connsiteY36" fmla="*/ 4219844 h 4440186"/>
              <a:gd name="connsiteX37" fmla="*/ 1016373 w 4789647"/>
              <a:gd name="connsiteY37" fmla="*/ 4206884 h 4440186"/>
              <a:gd name="connsiteX38" fmla="*/ 992272 w 4789647"/>
              <a:gd name="connsiteY38" fmla="*/ 4193589 h 4440186"/>
              <a:gd name="connsiteX39" fmla="*/ 968382 w 4789647"/>
              <a:gd name="connsiteY39" fmla="*/ 4179965 h 4440186"/>
              <a:gd name="connsiteX40" fmla="*/ 944704 w 4789647"/>
              <a:gd name="connsiteY40" fmla="*/ 4166013 h 4440186"/>
              <a:gd name="connsiteX41" fmla="*/ 921243 w 4789647"/>
              <a:gd name="connsiteY41" fmla="*/ 4151736 h 4440186"/>
              <a:gd name="connsiteX42" fmla="*/ 898000 w 4789647"/>
              <a:gd name="connsiteY42" fmla="*/ 4137139 h 4440186"/>
              <a:gd name="connsiteX43" fmla="*/ 874980 w 4789647"/>
              <a:gd name="connsiteY43" fmla="*/ 4122224 h 4440186"/>
              <a:gd name="connsiteX44" fmla="*/ 852185 w 4789647"/>
              <a:gd name="connsiteY44" fmla="*/ 4106993 h 4440186"/>
              <a:gd name="connsiteX45" fmla="*/ 829619 w 4789647"/>
              <a:gd name="connsiteY45" fmla="*/ 4091451 h 4440186"/>
              <a:gd name="connsiteX46" fmla="*/ 807284 w 4789647"/>
              <a:gd name="connsiteY46" fmla="*/ 4075600 h 4440186"/>
              <a:gd name="connsiteX47" fmla="*/ 785183 w 4789647"/>
              <a:gd name="connsiteY47" fmla="*/ 4059442 h 4440186"/>
              <a:gd name="connsiteX48" fmla="*/ 763321 w 4789647"/>
              <a:gd name="connsiteY48" fmla="*/ 4042983 h 4440186"/>
              <a:gd name="connsiteX49" fmla="*/ 741699 w 4789647"/>
              <a:gd name="connsiteY49" fmla="*/ 4026224 h 4440186"/>
              <a:gd name="connsiteX50" fmla="*/ 720321 w 4789647"/>
              <a:gd name="connsiteY50" fmla="*/ 4009168 h 4440186"/>
              <a:gd name="connsiteX51" fmla="*/ 699190 w 4789647"/>
              <a:gd name="connsiteY51" fmla="*/ 3991819 h 4440186"/>
              <a:gd name="connsiteX52" fmla="*/ 678309 w 4789647"/>
              <a:gd name="connsiteY52" fmla="*/ 3974180 h 4440186"/>
              <a:gd name="connsiteX53" fmla="*/ 657681 w 4789647"/>
              <a:gd name="connsiteY53" fmla="*/ 3956254 h 4440186"/>
              <a:gd name="connsiteX54" fmla="*/ 637309 w 4789647"/>
              <a:gd name="connsiteY54" fmla="*/ 3938043 h 4440186"/>
              <a:gd name="connsiteX55" fmla="*/ 617197 w 4789647"/>
              <a:gd name="connsiteY55" fmla="*/ 3919552 h 4440186"/>
              <a:gd name="connsiteX56" fmla="*/ 597347 w 4789647"/>
              <a:gd name="connsiteY56" fmla="*/ 3900783 h 4440186"/>
              <a:gd name="connsiteX57" fmla="*/ 577763 w 4789647"/>
              <a:gd name="connsiteY57" fmla="*/ 3881739 h 4440186"/>
              <a:gd name="connsiteX58" fmla="*/ 558447 w 4789647"/>
              <a:gd name="connsiteY58" fmla="*/ 3862423 h 4440186"/>
              <a:gd name="connsiteX59" fmla="*/ 539403 w 4789647"/>
              <a:gd name="connsiteY59" fmla="*/ 3842839 h 4440186"/>
              <a:gd name="connsiteX60" fmla="*/ 520634 w 4789647"/>
              <a:gd name="connsiteY60" fmla="*/ 3822989 h 4440186"/>
              <a:gd name="connsiteX61" fmla="*/ 502143 w 4789647"/>
              <a:gd name="connsiteY61" fmla="*/ 3802877 h 4440186"/>
              <a:gd name="connsiteX62" fmla="*/ 483932 w 4789647"/>
              <a:gd name="connsiteY62" fmla="*/ 3782505 h 4440186"/>
              <a:gd name="connsiteX63" fmla="*/ 466006 w 4789647"/>
              <a:gd name="connsiteY63" fmla="*/ 3761878 h 4440186"/>
              <a:gd name="connsiteX64" fmla="*/ 448367 w 4789647"/>
              <a:gd name="connsiteY64" fmla="*/ 3740996 h 4440186"/>
              <a:gd name="connsiteX65" fmla="*/ 431018 w 4789647"/>
              <a:gd name="connsiteY65" fmla="*/ 3719865 h 4440186"/>
              <a:gd name="connsiteX66" fmla="*/ 413962 w 4789647"/>
              <a:gd name="connsiteY66" fmla="*/ 3698487 h 4440186"/>
              <a:gd name="connsiteX67" fmla="*/ 397204 w 4789647"/>
              <a:gd name="connsiteY67" fmla="*/ 3676865 h 4440186"/>
              <a:gd name="connsiteX68" fmla="*/ 380744 w 4789647"/>
              <a:gd name="connsiteY68" fmla="*/ 3655003 h 4440186"/>
              <a:gd name="connsiteX69" fmla="*/ 364587 w 4789647"/>
              <a:gd name="connsiteY69" fmla="*/ 3632902 h 4440186"/>
              <a:gd name="connsiteX70" fmla="*/ 348735 w 4789647"/>
              <a:gd name="connsiteY70" fmla="*/ 3610567 h 4440186"/>
              <a:gd name="connsiteX71" fmla="*/ 333193 w 4789647"/>
              <a:gd name="connsiteY71" fmla="*/ 3588001 h 4440186"/>
              <a:gd name="connsiteX72" fmla="*/ 317962 w 4789647"/>
              <a:gd name="connsiteY72" fmla="*/ 3565206 h 4440186"/>
              <a:gd name="connsiteX73" fmla="*/ 303047 w 4789647"/>
              <a:gd name="connsiteY73" fmla="*/ 3542186 h 4440186"/>
              <a:gd name="connsiteX74" fmla="*/ 288450 w 4789647"/>
              <a:gd name="connsiteY74" fmla="*/ 3518943 h 4440186"/>
              <a:gd name="connsiteX75" fmla="*/ 274174 w 4789647"/>
              <a:gd name="connsiteY75" fmla="*/ 3495482 h 4440186"/>
              <a:gd name="connsiteX76" fmla="*/ 260221 w 4789647"/>
              <a:gd name="connsiteY76" fmla="*/ 3471805 h 4440186"/>
              <a:gd name="connsiteX77" fmla="*/ 246597 w 4789647"/>
              <a:gd name="connsiteY77" fmla="*/ 3447914 h 4440186"/>
              <a:gd name="connsiteX78" fmla="*/ 233302 w 4789647"/>
              <a:gd name="connsiteY78" fmla="*/ 3423814 h 4440186"/>
              <a:gd name="connsiteX79" fmla="*/ 220342 w 4789647"/>
              <a:gd name="connsiteY79" fmla="*/ 3399507 h 4440186"/>
              <a:gd name="connsiteX80" fmla="*/ 207718 w 4789647"/>
              <a:gd name="connsiteY80" fmla="*/ 3374996 h 4440186"/>
              <a:gd name="connsiteX81" fmla="*/ 195434 w 4789647"/>
              <a:gd name="connsiteY81" fmla="*/ 3350284 h 4440186"/>
              <a:gd name="connsiteX82" fmla="*/ 183492 w 4789647"/>
              <a:gd name="connsiteY82" fmla="*/ 3325376 h 4440186"/>
              <a:gd name="connsiteX83" fmla="*/ 171897 w 4789647"/>
              <a:gd name="connsiteY83" fmla="*/ 3300272 h 4440186"/>
              <a:gd name="connsiteX84" fmla="*/ 160650 w 4789647"/>
              <a:gd name="connsiteY84" fmla="*/ 3274978 h 4440186"/>
              <a:gd name="connsiteX85" fmla="*/ 149756 w 4789647"/>
              <a:gd name="connsiteY85" fmla="*/ 3249495 h 4440186"/>
              <a:gd name="connsiteX86" fmla="*/ 139216 w 4789647"/>
              <a:gd name="connsiteY86" fmla="*/ 3223827 h 4440186"/>
              <a:gd name="connsiteX87" fmla="*/ 129036 w 4789647"/>
              <a:gd name="connsiteY87" fmla="*/ 3197977 h 4440186"/>
              <a:gd name="connsiteX88" fmla="*/ 119216 w 4789647"/>
              <a:gd name="connsiteY88" fmla="*/ 3171948 h 4440186"/>
              <a:gd name="connsiteX89" fmla="*/ 109761 w 4789647"/>
              <a:gd name="connsiteY89" fmla="*/ 3145743 h 4440186"/>
              <a:gd name="connsiteX90" fmla="*/ 100673 w 4789647"/>
              <a:gd name="connsiteY90" fmla="*/ 3119366 h 4440186"/>
              <a:gd name="connsiteX91" fmla="*/ 91957 w 4789647"/>
              <a:gd name="connsiteY91" fmla="*/ 3092819 h 4440186"/>
              <a:gd name="connsiteX92" fmla="*/ 83614 w 4789647"/>
              <a:gd name="connsiteY92" fmla="*/ 3066105 h 4440186"/>
              <a:gd name="connsiteX93" fmla="*/ 75648 w 4789647"/>
              <a:gd name="connsiteY93" fmla="*/ 3039228 h 4440186"/>
              <a:gd name="connsiteX94" fmla="*/ 68061 w 4789647"/>
              <a:gd name="connsiteY94" fmla="*/ 3012191 h 4440186"/>
              <a:gd name="connsiteX95" fmla="*/ 60858 w 4789647"/>
              <a:gd name="connsiteY95" fmla="*/ 2984996 h 4440186"/>
              <a:gd name="connsiteX96" fmla="*/ 54040 w 4789647"/>
              <a:gd name="connsiteY96" fmla="*/ 2957647 h 4440186"/>
              <a:gd name="connsiteX97" fmla="*/ 47612 w 4789647"/>
              <a:gd name="connsiteY97" fmla="*/ 2930147 h 4440186"/>
              <a:gd name="connsiteX98" fmla="*/ 41577 w 4789647"/>
              <a:gd name="connsiteY98" fmla="*/ 2902499 h 4440186"/>
              <a:gd name="connsiteX99" fmla="*/ 35936 w 4789647"/>
              <a:gd name="connsiteY99" fmla="*/ 2874706 h 4440186"/>
              <a:gd name="connsiteX100" fmla="*/ 30694 w 4789647"/>
              <a:gd name="connsiteY100" fmla="*/ 2846771 h 4440186"/>
              <a:gd name="connsiteX101" fmla="*/ 25854 w 4789647"/>
              <a:gd name="connsiteY101" fmla="*/ 2818697 h 4440186"/>
              <a:gd name="connsiteX102" fmla="*/ 21419 w 4789647"/>
              <a:gd name="connsiteY102" fmla="*/ 2790489 h 4440186"/>
              <a:gd name="connsiteX103" fmla="*/ 17391 w 4789647"/>
              <a:gd name="connsiteY103" fmla="*/ 2762147 h 4440186"/>
              <a:gd name="connsiteX104" fmla="*/ 13774 w 4789647"/>
              <a:gd name="connsiteY104" fmla="*/ 2733675 h 4440186"/>
              <a:gd name="connsiteX105" fmla="*/ 10571 w 4789647"/>
              <a:gd name="connsiteY105" fmla="*/ 2705078 h 4440186"/>
              <a:gd name="connsiteX106" fmla="*/ 7785 w 4789647"/>
              <a:gd name="connsiteY106" fmla="*/ 2676357 h 4440186"/>
              <a:gd name="connsiteX107" fmla="*/ 5419 w 4789647"/>
              <a:gd name="connsiteY107" fmla="*/ 2647516 h 4440186"/>
              <a:gd name="connsiteX108" fmla="*/ 3476 w 4789647"/>
              <a:gd name="connsiteY108" fmla="*/ 2618558 h 4440186"/>
              <a:gd name="connsiteX109" fmla="*/ 1960 w 4789647"/>
              <a:gd name="connsiteY109" fmla="*/ 2589486 h 4440186"/>
              <a:gd name="connsiteX110" fmla="*/ 873 w 4789647"/>
              <a:gd name="connsiteY110" fmla="*/ 2560303 h 4440186"/>
              <a:gd name="connsiteX111" fmla="*/ 219 w 4789647"/>
              <a:gd name="connsiteY111" fmla="*/ 2531012 h 4440186"/>
              <a:gd name="connsiteX112" fmla="*/ 0 w 4789647"/>
              <a:gd name="connsiteY112" fmla="*/ 2501616 h 44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789647" h="4440186">
                <a:moveTo>
                  <a:pt x="0" y="0"/>
                </a:moveTo>
                <a:lnTo>
                  <a:pt x="4789647" y="0"/>
                </a:lnTo>
                <a:lnTo>
                  <a:pt x="4789647" y="4440186"/>
                </a:lnTo>
                <a:lnTo>
                  <a:pt x="1938570" y="4440186"/>
                </a:lnTo>
                <a:lnTo>
                  <a:pt x="1909174" y="4439968"/>
                </a:lnTo>
                <a:lnTo>
                  <a:pt x="1879884" y="4439313"/>
                </a:lnTo>
                <a:lnTo>
                  <a:pt x="1850700" y="4438226"/>
                </a:lnTo>
                <a:lnTo>
                  <a:pt x="1821628" y="4436710"/>
                </a:lnTo>
                <a:lnTo>
                  <a:pt x="1792670" y="4434767"/>
                </a:lnTo>
                <a:lnTo>
                  <a:pt x="1763829" y="4432402"/>
                </a:lnTo>
                <a:lnTo>
                  <a:pt x="1735108" y="4429616"/>
                </a:lnTo>
                <a:lnTo>
                  <a:pt x="1706510" y="4426413"/>
                </a:lnTo>
                <a:lnTo>
                  <a:pt x="1678040" y="4422796"/>
                </a:lnTo>
                <a:lnTo>
                  <a:pt x="1649698" y="4418768"/>
                </a:lnTo>
                <a:lnTo>
                  <a:pt x="1621488" y="4414332"/>
                </a:lnTo>
                <a:lnTo>
                  <a:pt x="1593415" y="4409492"/>
                </a:lnTo>
                <a:lnTo>
                  <a:pt x="1565480" y="4404250"/>
                </a:lnTo>
                <a:lnTo>
                  <a:pt x="1537687" y="4398610"/>
                </a:lnTo>
                <a:lnTo>
                  <a:pt x="1510039" y="4392574"/>
                </a:lnTo>
                <a:lnTo>
                  <a:pt x="1482539" y="4386146"/>
                </a:lnTo>
                <a:lnTo>
                  <a:pt x="1455190" y="4379329"/>
                </a:lnTo>
                <a:lnTo>
                  <a:pt x="1427995" y="4372125"/>
                </a:lnTo>
                <a:lnTo>
                  <a:pt x="1400958" y="4364539"/>
                </a:lnTo>
                <a:lnTo>
                  <a:pt x="1374080" y="4356572"/>
                </a:lnTo>
                <a:lnTo>
                  <a:pt x="1347367" y="4348230"/>
                </a:lnTo>
                <a:lnTo>
                  <a:pt x="1320820" y="4339513"/>
                </a:lnTo>
                <a:lnTo>
                  <a:pt x="1294442" y="4330425"/>
                </a:lnTo>
                <a:lnTo>
                  <a:pt x="1268238" y="4320970"/>
                </a:lnTo>
                <a:lnTo>
                  <a:pt x="1242209" y="4311151"/>
                </a:lnTo>
                <a:lnTo>
                  <a:pt x="1216359" y="4300970"/>
                </a:lnTo>
                <a:lnTo>
                  <a:pt x="1190691" y="4290430"/>
                </a:lnTo>
                <a:lnTo>
                  <a:pt x="1165209" y="4279536"/>
                </a:lnTo>
                <a:lnTo>
                  <a:pt x="1139914" y="4268290"/>
                </a:lnTo>
                <a:lnTo>
                  <a:pt x="1114810" y="4256694"/>
                </a:lnTo>
                <a:lnTo>
                  <a:pt x="1089902" y="4244753"/>
                </a:lnTo>
                <a:lnTo>
                  <a:pt x="1065191" y="4232468"/>
                </a:lnTo>
                <a:lnTo>
                  <a:pt x="1040680" y="4219844"/>
                </a:lnTo>
                <a:lnTo>
                  <a:pt x="1016373" y="4206884"/>
                </a:lnTo>
                <a:lnTo>
                  <a:pt x="992272" y="4193589"/>
                </a:lnTo>
                <a:lnTo>
                  <a:pt x="968382" y="4179965"/>
                </a:lnTo>
                <a:lnTo>
                  <a:pt x="944704" y="4166013"/>
                </a:lnTo>
                <a:lnTo>
                  <a:pt x="921243" y="4151736"/>
                </a:lnTo>
                <a:lnTo>
                  <a:pt x="898000" y="4137139"/>
                </a:lnTo>
                <a:lnTo>
                  <a:pt x="874980" y="4122224"/>
                </a:lnTo>
                <a:lnTo>
                  <a:pt x="852185" y="4106993"/>
                </a:lnTo>
                <a:lnTo>
                  <a:pt x="829619" y="4091451"/>
                </a:lnTo>
                <a:lnTo>
                  <a:pt x="807284" y="4075600"/>
                </a:lnTo>
                <a:lnTo>
                  <a:pt x="785183" y="4059442"/>
                </a:lnTo>
                <a:lnTo>
                  <a:pt x="763321" y="4042983"/>
                </a:lnTo>
                <a:lnTo>
                  <a:pt x="741699" y="4026224"/>
                </a:lnTo>
                <a:lnTo>
                  <a:pt x="720321" y="4009168"/>
                </a:lnTo>
                <a:lnTo>
                  <a:pt x="699190" y="3991819"/>
                </a:lnTo>
                <a:lnTo>
                  <a:pt x="678309" y="3974180"/>
                </a:lnTo>
                <a:lnTo>
                  <a:pt x="657681" y="3956254"/>
                </a:lnTo>
                <a:lnTo>
                  <a:pt x="637309" y="3938043"/>
                </a:lnTo>
                <a:lnTo>
                  <a:pt x="617197" y="3919552"/>
                </a:lnTo>
                <a:lnTo>
                  <a:pt x="597347" y="3900783"/>
                </a:lnTo>
                <a:lnTo>
                  <a:pt x="577763" y="3881739"/>
                </a:lnTo>
                <a:lnTo>
                  <a:pt x="558447" y="3862423"/>
                </a:lnTo>
                <a:lnTo>
                  <a:pt x="539403" y="3842839"/>
                </a:lnTo>
                <a:lnTo>
                  <a:pt x="520634" y="3822989"/>
                </a:lnTo>
                <a:lnTo>
                  <a:pt x="502143" y="3802877"/>
                </a:lnTo>
                <a:lnTo>
                  <a:pt x="483932" y="3782505"/>
                </a:lnTo>
                <a:lnTo>
                  <a:pt x="466006" y="3761878"/>
                </a:lnTo>
                <a:lnTo>
                  <a:pt x="448367" y="3740996"/>
                </a:lnTo>
                <a:lnTo>
                  <a:pt x="431018" y="3719865"/>
                </a:lnTo>
                <a:lnTo>
                  <a:pt x="413962" y="3698487"/>
                </a:lnTo>
                <a:lnTo>
                  <a:pt x="397204" y="3676865"/>
                </a:lnTo>
                <a:lnTo>
                  <a:pt x="380744" y="3655003"/>
                </a:lnTo>
                <a:lnTo>
                  <a:pt x="364587" y="3632902"/>
                </a:lnTo>
                <a:lnTo>
                  <a:pt x="348735" y="3610567"/>
                </a:lnTo>
                <a:lnTo>
                  <a:pt x="333193" y="3588001"/>
                </a:lnTo>
                <a:lnTo>
                  <a:pt x="317962" y="3565206"/>
                </a:lnTo>
                <a:lnTo>
                  <a:pt x="303047" y="3542186"/>
                </a:lnTo>
                <a:lnTo>
                  <a:pt x="288450" y="3518943"/>
                </a:lnTo>
                <a:lnTo>
                  <a:pt x="274174" y="3495482"/>
                </a:lnTo>
                <a:lnTo>
                  <a:pt x="260221" y="3471805"/>
                </a:lnTo>
                <a:lnTo>
                  <a:pt x="246597" y="3447914"/>
                </a:lnTo>
                <a:lnTo>
                  <a:pt x="233302" y="3423814"/>
                </a:lnTo>
                <a:lnTo>
                  <a:pt x="220342" y="3399507"/>
                </a:lnTo>
                <a:lnTo>
                  <a:pt x="207718" y="3374996"/>
                </a:lnTo>
                <a:lnTo>
                  <a:pt x="195434" y="3350284"/>
                </a:lnTo>
                <a:lnTo>
                  <a:pt x="183492" y="3325376"/>
                </a:lnTo>
                <a:lnTo>
                  <a:pt x="171897" y="3300272"/>
                </a:lnTo>
                <a:lnTo>
                  <a:pt x="160650" y="3274978"/>
                </a:lnTo>
                <a:lnTo>
                  <a:pt x="149756" y="3249495"/>
                </a:lnTo>
                <a:lnTo>
                  <a:pt x="139216" y="3223827"/>
                </a:lnTo>
                <a:lnTo>
                  <a:pt x="129036" y="3197977"/>
                </a:lnTo>
                <a:lnTo>
                  <a:pt x="119216" y="3171948"/>
                </a:lnTo>
                <a:lnTo>
                  <a:pt x="109761" y="3145743"/>
                </a:lnTo>
                <a:lnTo>
                  <a:pt x="100673" y="3119366"/>
                </a:lnTo>
                <a:lnTo>
                  <a:pt x="91957" y="3092819"/>
                </a:lnTo>
                <a:lnTo>
                  <a:pt x="83614" y="3066105"/>
                </a:lnTo>
                <a:lnTo>
                  <a:pt x="75648" y="3039228"/>
                </a:lnTo>
                <a:lnTo>
                  <a:pt x="68061" y="3012191"/>
                </a:lnTo>
                <a:lnTo>
                  <a:pt x="60858" y="2984996"/>
                </a:lnTo>
                <a:lnTo>
                  <a:pt x="54040" y="2957647"/>
                </a:lnTo>
                <a:lnTo>
                  <a:pt x="47612" y="2930147"/>
                </a:lnTo>
                <a:lnTo>
                  <a:pt x="41577" y="2902499"/>
                </a:lnTo>
                <a:lnTo>
                  <a:pt x="35936" y="2874706"/>
                </a:lnTo>
                <a:lnTo>
                  <a:pt x="30694" y="2846771"/>
                </a:lnTo>
                <a:lnTo>
                  <a:pt x="25854" y="2818697"/>
                </a:lnTo>
                <a:lnTo>
                  <a:pt x="21419" y="2790489"/>
                </a:lnTo>
                <a:lnTo>
                  <a:pt x="17391" y="2762147"/>
                </a:lnTo>
                <a:lnTo>
                  <a:pt x="13774" y="2733675"/>
                </a:lnTo>
                <a:lnTo>
                  <a:pt x="10571" y="2705078"/>
                </a:lnTo>
                <a:lnTo>
                  <a:pt x="7785" y="2676357"/>
                </a:lnTo>
                <a:lnTo>
                  <a:pt x="5419" y="2647516"/>
                </a:lnTo>
                <a:lnTo>
                  <a:pt x="3476" y="2618558"/>
                </a:lnTo>
                <a:lnTo>
                  <a:pt x="1960" y="2589486"/>
                </a:lnTo>
                <a:lnTo>
                  <a:pt x="873" y="2560303"/>
                </a:lnTo>
                <a:lnTo>
                  <a:pt x="219" y="2531012"/>
                </a:lnTo>
                <a:lnTo>
                  <a:pt x="0" y="2501616"/>
                </a:lnTo>
                <a:close/>
              </a:path>
            </a:pathLst>
          </a:custGeom>
        </p:spPr>
        <p:txBody>
          <a:bodyPr wrap="square">
            <a:noAutofit/>
          </a:bodyPr>
          <a:lstStyle>
            <a:lvl1pPr marL="0" indent="0">
              <a:buNone/>
              <a:defRPr>
                <a:solidFill>
                  <a:schemeClr val="bg1"/>
                </a:solidFill>
              </a:defRPr>
            </a:lvl1pPr>
          </a:lstStyle>
          <a:p>
            <a:r>
              <a:rPr lang="en-US" noProof="0"/>
              <a:t>Click icon to add picture</a:t>
            </a:r>
            <a:endParaRPr lang="en-US" noProof="0" dirty="0"/>
          </a:p>
        </p:txBody>
      </p:sp>
      <p:grpSp>
        <p:nvGrpSpPr>
          <p:cNvPr id="19" name="object 8">
            <a:extLst>
              <a:ext uri="{FF2B5EF4-FFF2-40B4-BE49-F238E27FC236}">
                <a16:creationId xmlns:a16="http://schemas.microsoft.com/office/drawing/2014/main" id="{B08133C7-62F4-2197-0A1B-6918494C178F}"/>
              </a:ext>
            </a:extLst>
          </p:cNvPr>
          <p:cNvGrpSpPr>
            <a:grpSpLocks noChangeAspect="1"/>
          </p:cNvGrpSpPr>
          <p:nvPr/>
        </p:nvGrpSpPr>
        <p:grpSpPr bwMode="gray">
          <a:xfrm>
            <a:off x="11523000" y="6201700"/>
            <a:ext cx="288000" cy="288000"/>
            <a:chOff x="18934851" y="10156759"/>
            <a:chExt cx="523875" cy="523875"/>
          </a:xfrm>
        </p:grpSpPr>
        <p:sp>
          <p:nvSpPr>
            <p:cNvPr id="24" name="object 9">
              <a:extLst>
                <a:ext uri="{FF2B5EF4-FFF2-40B4-BE49-F238E27FC236}">
                  <a16:creationId xmlns:a16="http://schemas.microsoft.com/office/drawing/2014/main" id="{91607325-ECDA-5A9D-D5ED-87FC82253497}"/>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26" name="object 10">
              <a:extLst>
                <a:ext uri="{FF2B5EF4-FFF2-40B4-BE49-F238E27FC236}">
                  <a16:creationId xmlns:a16="http://schemas.microsoft.com/office/drawing/2014/main" id="{4D1BC8E8-509E-E8C2-8F96-92FF0CC5ABF5}"/>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27" name="object 11">
              <a:extLst>
                <a:ext uri="{FF2B5EF4-FFF2-40B4-BE49-F238E27FC236}">
                  <a16:creationId xmlns:a16="http://schemas.microsoft.com/office/drawing/2014/main" id="{C1701DE8-E408-F071-1863-64F262546DE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bg1"/>
                </a:solidFill>
              </a:defRPr>
            </a:lvl1pPr>
          </a:lstStyle>
          <a:p>
            <a:r>
              <a:rPr lang="en-US" noProof="0" dirty="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04925"/>
            <a:ext cx="4838004" cy="4608512"/>
          </a:xfrm>
        </p:spPr>
        <p:txBody>
          <a:bodyPr>
            <a:noAutofit/>
          </a:bodyPr>
          <a:lstStyle>
            <a:lvl1pPr>
              <a:defRPr sz="1600">
                <a:solidFill>
                  <a:schemeClr val="bg1"/>
                </a:solidFill>
                <a:latin typeface="Lexend BD" pitchFamily="2" charset="0"/>
              </a:defRPr>
            </a:lvl1pPr>
            <a:lvl2pPr>
              <a:defRPr sz="1600"/>
            </a:lvl2pPr>
            <a:lvl3pPr>
              <a:defRPr sz="1600"/>
            </a:lvl3pPr>
            <a:lvl4pPr>
              <a:defRPr sz="1600"/>
            </a:lvl4pPr>
            <a:lvl5pPr>
              <a:defRPr sz="1600"/>
            </a:lvl5pPr>
            <a:lvl6pPr marL="0" indent="0">
              <a:buFontTx/>
              <a:buNone/>
              <a:defRPr sz="1600"/>
            </a:lvl6pPr>
          </a:lstStyle>
          <a:p>
            <a:pPr lvl="0"/>
            <a:r>
              <a:rPr lang="en-US" noProof="0" dirty="0"/>
              <a:t>Lorem ipsum dolor sit amet, consectetuer adipiscing elit. Maecenas porttitor congue massa. Fusce posuere, magna sed pulvinar ultricies, purus lectus malesuada libero, sit amet commodo magna eros quis urna.</a:t>
            </a:r>
          </a:p>
          <a:p>
            <a:pPr lvl="0"/>
            <a:endParaRPr lang="en-US" noProof="0" dirty="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bg1"/>
                </a:solidFill>
              </a:defRPr>
            </a:lvl1pPr>
          </a:lstStyle>
          <a:p>
            <a:pPr lvl="0"/>
            <a:r>
              <a:rPr lang="en-US" noProof="0"/>
              <a:t>Topline</a:t>
            </a:r>
            <a:endParaRPr lang="en-US" noProof="0" dirty="0"/>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dirty="0"/>
          </a:p>
        </p:txBody>
      </p:sp>
      <p:sp>
        <p:nvSpPr>
          <p:cNvPr id="5" name="Bildplatzhalter 19">
            <a:extLst>
              <a:ext uri="{FF2B5EF4-FFF2-40B4-BE49-F238E27FC236}">
                <a16:creationId xmlns:a16="http://schemas.microsoft.com/office/drawing/2014/main" id="{A171EABD-2926-72D9-A8EE-2C941C0E44AA}"/>
              </a:ext>
            </a:extLst>
          </p:cNvPr>
          <p:cNvSpPr>
            <a:spLocks noGrp="1"/>
          </p:cNvSpPr>
          <p:nvPr>
            <p:ph type="pic" sz="quarter" idx="39"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20" name="Textfeld 8">
            <a:extLst>
              <a:ext uri="{FF2B5EF4-FFF2-40B4-BE49-F238E27FC236}">
                <a16:creationId xmlns:a16="http://schemas.microsoft.com/office/drawing/2014/main" id="{7B39B6DE-B672-439B-BCBD-CC84D31038A4}"/>
              </a:ext>
            </a:extLst>
          </p:cNvPr>
          <p:cNvSpPr txBox="1"/>
          <p:nvPr userDrawn="1"/>
        </p:nvSpPr>
        <p:spPr>
          <a:xfrm>
            <a:off x="3466593" y="6372120"/>
            <a:ext cx="5400000" cy="180000"/>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lumMod val="20000"/>
                    <a:lumOff val="80000"/>
                  </a:schemeClr>
                </a:solidFill>
                <a:latin typeface="+mn-lt"/>
                <a:ea typeface="+mn-ea"/>
                <a:cs typeface="Calibri Light" panose="020F0302020204030204" pitchFamily="34" charset="0"/>
              </a:rPr>
              <a:t>Event | Location | Topic | Author</a:t>
            </a:r>
          </a:p>
        </p:txBody>
      </p:sp>
      <p:sp>
        <p:nvSpPr>
          <p:cNvPr id="21" name="Textfeld 8">
            <a:extLst>
              <a:ext uri="{FF2B5EF4-FFF2-40B4-BE49-F238E27FC236}">
                <a16:creationId xmlns:a16="http://schemas.microsoft.com/office/drawing/2014/main" id="{906EC869-44C9-4CF0-971D-8881D22E5315}"/>
              </a:ext>
            </a:extLst>
          </p:cNvPr>
          <p:cNvSpPr txBox="1"/>
          <p:nvPr userDrawn="1"/>
        </p:nvSpPr>
        <p:spPr>
          <a:xfrm>
            <a:off x="2472508" y="6383574"/>
            <a:ext cx="831600" cy="157091"/>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lumMod val="20000"/>
                    <a:lumOff val="80000"/>
                  </a:schemeClr>
                </a:solidFill>
                <a:latin typeface="+mn-lt"/>
                <a:ea typeface="+mn-ea"/>
                <a:cs typeface="Calibri Light" panose="020F0302020204030204" pitchFamily="34" charset="0"/>
              </a:rPr>
              <a:t>mm.dd.yyyy</a:t>
            </a:r>
            <a:endParaRPr lang="en-US" sz="800" kern="1200" noProof="0" dirty="0">
              <a:solidFill>
                <a:schemeClr val="tx1">
                  <a:lumMod val="20000"/>
                  <a:lumOff val="80000"/>
                </a:schemeClr>
              </a:solidFill>
              <a:latin typeface="+mn-lt"/>
              <a:ea typeface="+mn-ea"/>
              <a:cs typeface="Calibri Light" panose="020F0302020204030204" pitchFamily="34" charset="0"/>
            </a:endParaRPr>
          </a:p>
        </p:txBody>
      </p:sp>
    </p:spTree>
    <p:extLst>
      <p:ext uri="{BB962C8B-B14F-4D97-AF65-F5344CB8AC3E}">
        <p14:creationId xmlns:p14="http://schemas.microsoft.com/office/powerpoint/2010/main" val="17476751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messages 2">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352819E-ABC6-4358-1106-D59378A29649}"/>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9" name="Text Placeholder 8">
            <a:extLst>
              <a:ext uri="{FF2B5EF4-FFF2-40B4-BE49-F238E27FC236}">
                <a16:creationId xmlns:a16="http://schemas.microsoft.com/office/drawing/2014/main" id="{7526397E-8D39-1510-D1AA-FFBC4D443450}"/>
              </a:ext>
            </a:extLst>
          </p:cNvPr>
          <p:cNvSpPr>
            <a:spLocks noGrp="1"/>
          </p:cNvSpPr>
          <p:nvPr>
            <p:ph type="body" sz="quarter" idx="44" hasCustomPrompt="1"/>
          </p:nvPr>
        </p:nvSpPr>
        <p:spPr>
          <a:xfrm>
            <a:off x="0" y="0"/>
            <a:ext cx="5995988" cy="591343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GB" dirty="0"/>
              <a:t>  </a:t>
            </a:r>
          </a:p>
        </p:txBody>
      </p:sp>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extLst>
              <p:ext uri="{D42A27DB-BD31-4B8C-83A1-F6EECF244321}">
                <p14:modId xmlns:p14="http://schemas.microsoft.com/office/powerpoint/2010/main" val="10055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04924"/>
            <a:ext cx="4838004" cy="4608513"/>
          </a:xfrm>
        </p:spPr>
        <p:txBody>
          <a:bodyPr>
            <a:noAutofit/>
          </a:bodyPr>
          <a:lstStyle>
            <a:lvl1pPr>
              <a:defRPr sz="1600">
                <a:solidFill>
                  <a:schemeClr val="bg1"/>
                </a:solidFill>
                <a:latin typeface="Lexend BD" pitchFamily="2" charset="0"/>
              </a:defRPr>
            </a:lvl1pPr>
            <a:lvl2pPr>
              <a:defRPr sz="1600"/>
            </a:lvl2pPr>
            <a:lvl3pPr>
              <a:defRPr sz="1600"/>
            </a:lvl3pPr>
            <a:lvl4pPr>
              <a:defRPr sz="1600"/>
            </a:lvl4pPr>
            <a:lvl5pPr>
              <a:defRPr sz="1600"/>
            </a:lvl5pPr>
            <a:lvl6pPr marL="0" indent="0">
              <a:buFontTx/>
              <a:buNone/>
              <a:defRPr sz="1600"/>
            </a:lvl6pPr>
          </a:lstStyle>
          <a:p>
            <a:pPr lvl="0"/>
            <a:r>
              <a:rPr lang="en-US" noProof="0" dirty="0"/>
              <a:t>Lorem ipsum dolor sit amet, consectetuer adipiscing elit. Maecenas porttitor congue massa. Fusce posuere, magna sed pulvinar ultricies, purus lectus malesuada libero, sit amet commodo magna eros quis urna.</a:t>
            </a:r>
          </a:p>
          <a:p>
            <a:pPr lvl="0"/>
            <a:endParaRPr lang="en-US" noProof="0" dirty="0"/>
          </a:p>
        </p:txBody>
      </p:sp>
      <p:sp>
        <p:nvSpPr>
          <p:cNvPr id="7" name="Title 6">
            <a:extLst>
              <a:ext uri="{FF2B5EF4-FFF2-40B4-BE49-F238E27FC236}">
                <a16:creationId xmlns:a16="http://schemas.microsoft.com/office/drawing/2014/main" id="{DBC0DD27-114C-DDAE-A24F-D30CE00169D5}"/>
              </a:ext>
            </a:extLst>
          </p:cNvPr>
          <p:cNvSpPr>
            <a:spLocks noGrp="1"/>
          </p:cNvSpPr>
          <p:nvPr>
            <p:ph type="title" hasCustomPrompt="1"/>
          </p:nvPr>
        </p:nvSpPr>
        <p:spPr bwMode="gray">
          <a:xfrm>
            <a:off x="386459" y="539778"/>
            <a:ext cx="4838004" cy="283219"/>
          </a:xfrm>
        </p:spPr>
        <p:txBody>
          <a:bodyPr vert="horz"/>
          <a:lstStyle>
            <a:lvl1pPr>
              <a:defRPr>
                <a:solidFill>
                  <a:schemeClr val="bg1"/>
                </a:solidFill>
              </a:defRPr>
            </a:lvl1pPr>
          </a:lstStyle>
          <a:p>
            <a:r>
              <a:rPr lang="en-US" noProof="0" dirty="0"/>
              <a:t>Slide heading</a:t>
            </a:r>
          </a:p>
        </p:txBody>
      </p:sp>
      <p:sp>
        <p:nvSpPr>
          <p:cNvPr id="2" name="Textplatzhalter 3">
            <a:extLst>
              <a:ext uri="{FF2B5EF4-FFF2-40B4-BE49-F238E27FC236}">
                <a16:creationId xmlns:a16="http://schemas.microsoft.com/office/drawing/2014/main" id="{98E6F30E-C587-42D4-20C1-1CFEBFEDD66A}"/>
              </a:ext>
            </a:extLst>
          </p:cNvPr>
          <p:cNvSpPr>
            <a:spLocks noGrp="1"/>
          </p:cNvSpPr>
          <p:nvPr>
            <p:ph type="body" sz="quarter" idx="14" hasCustomPrompt="1"/>
          </p:nvPr>
        </p:nvSpPr>
        <p:spPr bwMode="gray">
          <a:xfrm>
            <a:off x="382588" y="265541"/>
            <a:ext cx="4838004" cy="136525"/>
          </a:xfrm>
        </p:spPr>
        <p:txBody>
          <a:bodyPr anchor="b" anchorCtr="0">
            <a:noAutofit/>
          </a:bodyPr>
          <a:lstStyle>
            <a:lvl1pPr marL="0" indent="0">
              <a:buNone/>
              <a:defRPr sz="1000">
                <a:solidFill>
                  <a:schemeClr val="bg1"/>
                </a:solidFill>
              </a:defRPr>
            </a:lvl1pPr>
          </a:lstStyle>
          <a:p>
            <a:pPr lvl="0"/>
            <a:r>
              <a:rPr lang="en-US" noProof="0"/>
              <a:t>Topline</a:t>
            </a:r>
            <a:endParaRPr lang="en-US" noProof="0" dirty="0"/>
          </a:p>
        </p:txBody>
      </p:sp>
      <p:sp>
        <p:nvSpPr>
          <p:cNvPr id="19" name="Date Placeholder 18">
            <a:extLst>
              <a:ext uri="{FF2B5EF4-FFF2-40B4-BE49-F238E27FC236}">
                <a16:creationId xmlns:a16="http://schemas.microsoft.com/office/drawing/2014/main" id="{3B511F25-4227-D392-D30A-77594980A722}"/>
              </a:ext>
            </a:extLst>
          </p:cNvPr>
          <p:cNvSpPr>
            <a:spLocks noGrp="1"/>
          </p:cNvSpPr>
          <p:nvPr>
            <p:ph type="dt" sz="half" idx="37"/>
          </p:nvPr>
        </p:nvSpPr>
        <p:spPr bwMode="gray">
          <a:xfrm>
            <a:off x="2511512" y="6387525"/>
            <a:ext cx="592173" cy="123111"/>
          </a:xfrm>
          <a:prstGeom prst="rect">
            <a:avLst/>
          </a:prstGeom>
        </p:spPr>
        <p:txBody>
          <a:bodyPr/>
          <a:lstStyle>
            <a:lvl1pPr>
              <a:defRPr>
                <a:solidFill>
                  <a:schemeClr val="bg1"/>
                </a:solidFill>
              </a:defRPr>
            </a:lvl1pPr>
          </a:lstStyle>
          <a:p>
            <a:r>
              <a:rPr lang="en-US" noProof="0"/>
              <a:t>01.23.2023</a:t>
            </a:r>
            <a:endParaRPr lang="en-US" noProof="0" dirty="0"/>
          </a:p>
        </p:txBody>
      </p:sp>
      <p:sp>
        <p:nvSpPr>
          <p:cNvPr id="20" name="Footer Placeholder 19">
            <a:extLst>
              <a:ext uri="{FF2B5EF4-FFF2-40B4-BE49-F238E27FC236}">
                <a16:creationId xmlns:a16="http://schemas.microsoft.com/office/drawing/2014/main" id="{1A11871C-9E7F-6D51-815E-03231CC4DEBF}"/>
              </a:ext>
            </a:extLst>
          </p:cNvPr>
          <p:cNvSpPr>
            <a:spLocks noGrp="1"/>
          </p:cNvSpPr>
          <p:nvPr>
            <p:ph type="ftr" sz="quarter" idx="38"/>
          </p:nvPr>
        </p:nvSpPr>
        <p:spPr bwMode="gray">
          <a:xfrm>
            <a:off x="3441655" y="6387525"/>
            <a:ext cx="5451520" cy="123111"/>
          </a:xfrm>
          <a:prstGeom prst="rect">
            <a:avLst/>
          </a:prstGeom>
        </p:spPr>
        <p:txBody>
          <a:bodyPr/>
          <a:lstStyle>
            <a:lvl1pPr>
              <a:defRPr>
                <a:solidFill>
                  <a:schemeClr val="bg1"/>
                </a:solidFill>
              </a:defRPr>
            </a:lvl1pPr>
          </a:lstStyle>
          <a:p>
            <a:r>
              <a:rPr lang="en-US" noProof="0"/>
              <a:t>Basalite Meeting | Delta BC | Ignacio Cariaga &amp; Brandon Livingstone </a:t>
            </a:r>
            <a:endParaRPr lang="en-US" noProof="0" dirty="0"/>
          </a:p>
        </p:txBody>
      </p:sp>
      <p:sp>
        <p:nvSpPr>
          <p:cNvPr id="21" name="Slide Number Placeholder 20">
            <a:extLst>
              <a:ext uri="{FF2B5EF4-FFF2-40B4-BE49-F238E27FC236}">
                <a16:creationId xmlns:a16="http://schemas.microsoft.com/office/drawing/2014/main" id="{61E346A6-1557-C4E8-55FC-4385179FF757}"/>
              </a:ext>
            </a:extLst>
          </p:cNvPr>
          <p:cNvSpPr>
            <a:spLocks noGrp="1"/>
          </p:cNvSpPr>
          <p:nvPr>
            <p:ph type="sldNum" sz="quarter" idx="39"/>
          </p:nvPr>
        </p:nvSpPr>
        <p:spPr bwMode="gray"/>
        <p:txBody>
          <a:bodyPr/>
          <a:lstStyle>
            <a:lvl1pPr>
              <a:defRPr>
                <a:solidFill>
                  <a:schemeClr val="bg1"/>
                </a:solidFill>
              </a:defRPr>
            </a:lvl1pPr>
          </a:lstStyle>
          <a:p>
            <a:fld id="{A115CDC9-74CB-4F6C-8CD3-A6C89F254EE7}" type="slidenum">
              <a:rPr lang="en-US" noProof="0" smtClean="0"/>
              <a:pPr/>
              <a:t>‹#›</a:t>
            </a:fld>
            <a:endParaRPr lang="en-US" noProof="0" dirty="0"/>
          </a:p>
        </p:txBody>
      </p:sp>
      <p:sp>
        <p:nvSpPr>
          <p:cNvPr id="6" name="Bildplatzhalter 19">
            <a:extLst>
              <a:ext uri="{FF2B5EF4-FFF2-40B4-BE49-F238E27FC236}">
                <a16:creationId xmlns:a16="http://schemas.microsoft.com/office/drawing/2014/main" id="{058959EE-C3C4-2D61-D00B-F4179AF53E41}"/>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3" name="Text Placeholder 9">
            <a:extLst>
              <a:ext uri="{FF2B5EF4-FFF2-40B4-BE49-F238E27FC236}">
                <a16:creationId xmlns:a16="http://schemas.microsoft.com/office/drawing/2014/main" id="{E32BCDD6-C35F-F7E9-0084-D4DF4B404F17}"/>
              </a:ext>
            </a:extLst>
          </p:cNvPr>
          <p:cNvSpPr>
            <a:spLocks noGrp="1" noChangeAspect="1"/>
          </p:cNvSpPr>
          <p:nvPr>
            <p:ph type="body" sz="quarter" idx="19" hasCustomPrompt="1"/>
          </p:nvPr>
        </p:nvSpPr>
        <p:spPr>
          <a:xfrm>
            <a:off x="11523000" y="6201700"/>
            <a:ext cx="288000" cy="288000"/>
          </a:xfrm>
          <a:blipFill>
            <a:blip r:embed="rId8">
              <a:extLst>
                <a:ext uri="{96DAC541-7B7A-43D3-8B79-37D633B846F1}">
                  <asvg:svgBlip xmlns:asvg="http://schemas.microsoft.com/office/drawing/2016/SVG/main" r:embed="rId9"/>
                </a:ext>
              </a:extLst>
            </a:blip>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21931656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Key messages 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extLst>
              <p:ext uri="{D42A27DB-BD31-4B8C-83A1-F6EECF244321}">
                <p14:modId xmlns:p14="http://schemas.microsoft.com/office/powerpoint/2010/main" val="3361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7D9DD465-DA2D-D889-7408-6A0D3AB0FAAD}"/>
              </a:ext>
            </a:extLst>
          </p:cNvPr>
          <p:cNvSpPr>
            <a:spLocks noGrp="1"/>
          </p:cNvSpPr>
          <p:nvPr>
            <p:ph type="pic" sz="quarter" idx="11"/>
          </p:nvPr>
        </p:nvSpPr>
        <p:spPr bwMode="gray">
          <a:xfrm>
            <a:off x="6192837" y="0"/>
            <a:ext cx="5999163" cy="5913438"/>
          </a:xfrm>
          <a:custGeom>
            <a:avLst/>
            <a:gdLst>
              <a:gd name="connsiteX0" fmla="*/ 0 w 4789647"/>
              <a:gd name="connsiteY0" fmla="*/ 0 h 4440186"/>
              <a:gd name="connsiteX1" fmla="*/ 4789647 w 4789647"/>
              <a:gd name="connsiteY1" fmla="*/ 0 h 4440186"/>
              <a:gd name="connsiteX2" fmla="*/ 4789647 w 4789647"/>
              <a:gd name="connsiteY2" fmla="*/ 4440186 h 4440186"/>
              <a:gd name="connsiteX3" fmla="*/ 1938570 w 4789647"/>
              <a:gd name="connsiteY3" fmla="*/ 4440186 h 4440186"/>
              <a:gd name="connsiteX4" fmla="*/ 1909174 w 4789647"/>
              <a:gd name="connsiteY4" fmla="*/ 4439968 h 4440186"/>
              <a:gd name="connsiteX5" fmla="*/ 1879884 w 4789647"/>
              <a:gd name="connsiteY5" fmla="*/ 4439313 h 4440186"/>
              <a:gd name="connsiteX6" fmla="*/ 1850700 w 4789647"/>
              <a:gd name="connsiteY6" fmla="*/ 4438226 h 4440186"/>
              <a:gd name="connsiteX7" fmla="*/ 1821628 w 4789647"/>
              <a:gd name="connsiteY7" fmla="*/ 4436710 h 4440186"/>
              <a:gd name="connsiteX8" fmla="*/ 1792670 w 4789647"/>
              <a:gd name="connsiteY8" fmla="*/ 4434767 h 4440186"/>
              <a:gd name="connsiteX9" fmla="*/ 1763829 w 4789647"/>
              <a:gd name="connsiteY9" fmla="*/ 4432402 h 4440186"/>
              <a:gd name="connsiteX10" fmla="*/ 1735108 w 4789647"/>
              <a:gd name="connsiteY10" fmla="*/ 4429616 h 4440186"/>
              <a:gd name="connsiteX11" fmla="*/ 1706510 w 4789647"/>
              <a:gd name="connsiteY11" fmla="*/ 4426413 h 4440186"/>
              <a:gd name="connsiteX12" fmla="*/ 1678040 w 4789647"/>
              <a:gd name="connsiteY12" fmla="*/ 4422796 h 4440186"/>
              <a:gd name="connsiteX13" fmla="*/ 1649698 w 4789647"/>
              <a:gd name="connsiteY13" fmla="*/ 4418768 h 4440186"/>
              <a:gd name="connsiteX14" fmla="*/ 1621488 w 4789647"/>
              <a:gd name="connsiteY14" fmla="*/ 4414332 h 4440186"/>
              <a:gd name="connsiteX15" fmla="*/ 1593415 w 4789647"/>
              <a:gd name="connsiteY15" fmla="*/ 4409492 h 4440186"/>
              <a:gd name="connsiteX16" fmla="*/ 1565480 w 4789647"/>
              <a:gd name="connsiteY16" fmla="*/ 4404250 h 4440186"/>
              <a:gd name="connsiteX17" fmla="*/ 1537687 w 4789647"/>
              <a:gd name="connsiteY17" fmla="*/ 4398610 h 4440186"/>
              <a:gd name="connsiteX18" fmla="*/ 1510039 w 4789647"/>
              <a:gd name="connsiteY18" fmla="*/ 4392574 h 4440186"/>
              <a:gd name="connsiteX19" fmla="*/ 1482539 w 4789647"/>
              <a:gd name="connsiteY19" fmla="*/ 4386146 h 4440186"/>
              <a:gd name="connsiteX20" fmla="*/ 1455190 w 4789647"/>
              <a:gd name="connsiteY20" fmla="*/ 4379329 h 4440186"/>
              <a:gd name="connsiteX21" fmla="*/ 1427995 w 4789647"/>
              <a:gd name="connsiteY21" fmla="*/ 4372125 h 4440186"/>
              <a:gd name="connsiteX22" fmla="*/ 1400958 w 4789647"/>
              <a:gd name="connsiteY22" fmla="*/ 4364539 h 4440186"/>
              <a:gd name="connsiteX23" fmla="*/ 1374080 w 4789647"/>
              <a:gd name="connsiteY23" fmla="*/ 4356572 h 4440186"/>
              <a:gd name="connsiteX24" fmla="*/ 1347367 w 4789647"/>
              <a:gd name="connsiteY24" fmla="*/ 4348230 h 4440186"/>
              <a:gd name="connsiteX25" fmla="*/ 1320820 w 4789647"/>
              <a:gd name="connsiteY25" fmla="*/ 4339513 h 4440186"/>
              <a:gd name="connsiteX26" fmla="*/ 1294442 w 4789647"/>
              <a:gd name="connsiteY26" fmla="*/ 4330425 h 4440186"/>
              <a:gd name="connsiteX27" fmla="*/ 1268238 w 4789647"/>
              <a:gd name="connsiteY27" fmla="*/ 4320970 h 4440186"/>
              <a:gd name="connsiteX28" fmla="*/ 1242209 w 4789647"/>
              <a:gd name="connsiteY28" fmla="*/ 4311151 h 4440186"/>
              <a:gd name="connsiteX29" fmla="*/ 1216359 w 4789647"/>
              <a:gd name="connsiteY29" fmla="*/ 4300970 h 4440186"/>
              <a:gd name="connsiteX30" fmla="*/ 1190691 w 4789647"/>
              <a:gd name="connsiteY30" fmla="*/ 4290430 h 4440186"/>
              <a:gd name="connsiteX31" fmla="*/ 1165209 w 4789647"/>
              <a:gd name="connsiteY31" fmla="*/ 4279536 h 4440186"/>
              <a:gd name="connsiteX32" fmla="*/ 1139914 w 4789647"/>
              <a:gd name="connsiteY32" fmla="*/ 4268290 h 4440186"/>
              <a:gd name="connsiteX33" fmla="*/ 1114810 w 4789647"/>
              <a:gd name="connsiteY33" fmla="*/ 4256694 h 4440186"/>
              <a:gd name="connsiteX34" fmla="*/ 1089902 w 4789647"/>
              <a:gd name="connsiteY34" fmla="*/ 4244753 h 4440186"/>
              <a:gd name="connsiteX35" fmla="*/ 1065191 w 4789647"/>
              <a:gd name="connsiteY35" fmla="*/ 4232468 h 4440186"/>
              <a:gd name="connsiteX36" fmla="*/ 1040680 w 4789647"/>
              <a:gd name="connsiteY36" fmla="*/ 4219844 h 4440186"/>
              <a:gd name="connsiteX37" fmla="*/ 1016373 w 4789647"/>
              <a:gd name="connsiteY37" fmla="*/ 4206884 h 4440186"/>
              <a:gd name="connsiteX38" fmla="*/ 992272 w 4789647"/>
              <a:gd name="connsiteY38" fmla="*/ 4193589 h 4440186"/>
              <a:gd name="connsiteX39" fmla="*/ 968382 w 4789647"/>
              <a:gd name="connsiteY39" fmla="*/ 4179965 h 4440186"/>
              <a:gd name="connsiteX40" fmla="*/ 944704 w 4789647"/>
              <a:gd name="connsiteY40" fmla="*/ 4166013 h 4440186"/>
              <a:gd name="connsiteX41" fmla="*/ 921243 w 4789647"/>
              <a:gd name="connsiteY41" fmla="*/ 4151736 h 4440186"/>
              <a:gd name="connsiteX42" fmla="*/ 898000 w 4789647"/>
              <a:gd name="connsiteY42" fmla="*/ 4137139 h 4440186"/>
              <a:gd name="connsiteX43" fmla="*/ 874980 w 4789647"/>
              <a:gd name="connsiteY43" fmla="*/ 4122224 h 4440186"/>
              <a:gd name="connsiteX44" fmla="*/ 852185 w 4789647"/>
              <a:gd name="connsiteY44" fmla="*/ 4106993 h 4440186"/>
              <a:gd name="connsiteX45" fmla="*/ 829619 w 4789647"/>
              <a:gd name="connsiteY45" fmla="*/ 4091451 h 4440186"/>
              <a:gd name="connsiteX46" fmla="*/ 807284 w 4789647"/>
              <a:gd name="connsiteY46" fmla="*/ 4075600 h 4440186"/>
              <a:gd name="connsiteX47" fmla="*/ 785183 w 4789647"/>
              <a:gd name="connsiteY47" fmla="*/ 4059442 h 4440186"/>
              <a:gd name="connsiteX48" fmla="*/ 763321 w 4789647"/>
              <a:gd name="connsiteY48" fmla="*/ 4042983 h 4440186"/>
              <a:gd name="connsiteX49" fmla="*/ 741699 w 4789647"/>
              <a:gd name="connsiteY49" fmla="*/ 4026224 h 4440186"/>
              <a:gd name="connsiteX50" fmla="*/ 720321 w 4789647"/>
              <a:gd name="connsiteY50" fmla="*/ 4009168 h 4440186"/>
              <a:gd name="connsiteX51" fmla="*/ 699190 w 4789647"/>
              <a:gd name="connsiteY51" fmla="*/ 3991819 h 4440186"/>
              <a:gd name="connsiteX52" fmla="*/ 678309 w 4789647"/>
              <a:gd name="connsiteY52" fmla="*/ 3974180 h 4440186"/>
              <a:gd name="connsiteX53" fmla="*/ 657681 w 4789647"/>
              <a:gd name="connsiteY53" fmla="*/ 3956254 h 4440186"/>
              <a:gd name="connsiteX54" fmla="*/ 637309 w 4789647"/>
              <a:gd name="connsiteY54" fmla="*/ 3938043 h 4440186"/>
              <a:gd name="connsiteX55" fmla="*/ 617197 w 4789647"/>
              <a:gd name="connsiteY55" fmla="*/ 3919552 h 4440186"/>
              <a:gd name="connsiteX56" fmla="*/ 597347 w 4789647"/>
              <a:gd name="connsiteY56" fmla="*/ 3900783 h 4440186"/>
              <a:gd name="connsiteX57" fmla="*/ 577763 w 4789647"/>
              <a:gd name="connsiteY57" fmla="*/ 3881739 h 4440186"/>
              <a:gd name="connsiteX58" fmla="*/ 558447 w 4789647"/>
              <a:gd name="connsiteY58" fmla="*/ 3862423 h 4440186"/>
              <a:gd name="connsiteX59" fmla="*/ 539403 w 4789647"/>
              <a:gd name="connsiteY59" fmla="*/ 3842839 h 4440186"/>
              <a:gd name="connsiteX60" fmla="*/ 520634 w 4789647"/>
              <a:gd name="connsiteY60" fmla="*/ 3822989 h 4440186"/>
              <a:gd name="connsiteX61" fmla="*/ 502143 w 4789647"/>
              <a:gd name="connsiteY61" fmla="*/ 3802877 h 4440186"/>
              <a:gd name="connsiteX62" fmla="*/ 483932 w 4789647"/>
              <a:gd name="connsiteY62" fmla="*/ 3782505 h 4440186"/>
              <a:gd name="connsiteX63" fmla="*/ 466006 w 4789647"/>
              <a:gd name="connsiteY63" fmla="*/ 3761878 h 4440186"/>
              <a:gd name="connsiteX64" fmla="*/ 448367 w 4789647"/>
              <a:gd name="connsiteY64" fmla="*/ 3740996 h 4440186"/>
              <a:gd name="connsiteX65" fmla="*/ 431018 w 4789647"/>
              <a:gd name="connsiteY65" fmla="*/ 3719865 h 4440186"/>
              <a:gd name="connsiteX66" fmla="*/ 413962 w 4789647"/>
              <a:gd name="connsiteY66" fmla="*/ 3698487 h 4440186"/>
              <a:gd name="connsiteX67" fmla="*/ 397204 w 4789647"/>
              <a:gd name="connsiteY67" fmla="*/ 3676865 h 4440186"/>
              <a:gd name="connsiteX68" fmla="*/ 380744 w 4789647"/>
              <a:gd name="connsiteY68" fmla="*/ 3655003 h 4440186"/>
              <a:gd name="connsiteX69" fmla="*/ 364587 w 4789647"/>
              <a:gd name="connsiteY69" fmla="*/ 3632902 h 4440186"/>
              <a:gd name="connsiteX70" fmla="*/ 348735 w 4789647"/>
              <a:gd name="connsiteY70" fmla="*/ 3610567 h 4440186"/>
              <a:gd name="connsiteX71" fmla="*/ 333193 w 4789647"/>
              <a:gd name="connsiteY71" fmla="*/ 3588001 h 4440186"/>
              <a:gd name="connsiteX72" fmla="*/ 317962 w 4789647"/>
              <a:gd name="connsiteY72" fmla="*/ 3565206 h 4440186"/>
              <a:gd name="connsiteX73" fmla="*/ 303047 w 4789647"/>
              <a:gd name="connsiteY73" fmla="*/ 3542186 h 4440186"/>
              <a:gd name="connsiteX74" fmla="*/ 288450 w 4789647"/>
              <a:gd name="connsiteY74" fmla="*/ 3518943 h 4440186"/>
              <a:gd name="connsiteX75" fmla="*/ 274174 w 4789647"/>
              <a:gd name="connsiteY75" fmla="*/ 3495482 h 4440186"/>
              <a:gd name="connsiteX76" fmla="*/ 260221 w 4789647"/>
              <a:gd name="connsiteY76" fmla="*/ 3471805 h 4440186"/>
              <a:gd name="connsiteX77" fmla="*/ 246597 w 4789647"/>
              <a:gd name="connsiteY77" fmla="*/ 3447914 h 4440186"/>
              <a:gd name="connsiteX78" fmla="*/ 233302 w 4789647"/>
              <a:gd name="connsiteY78" fmla="*/ 3423814 h 4440186"/>
              <a:gd name="connsiteX79" fmla="*/ 220342 w 4789647"/>
              <a:gd name="connsiteY79" fmla="*/ 3399507 h 4440186"/>
              <a:gd name="connsiteX80" fmla="*/ 207718 w 4789647"/>
              <a:gd name="connsiteY80" fmla="*/ 3374996 h 4440186"/>
              <a:gd name="connsiteX81" fmla="*/ 195434 w 4789647"/>
              <a:gd name="connsiteY81" fmla="*/ 3350284 h 4440186"/>
              <a:gd name="connsiteX82" fmla="*/ 183492 w 4789647"/>
              <a:gd name="connsiteY82" fmla="*/ 3325376 h 4440186"/>
              <a:gd name="connsiteX83" fmla="*/ 171897 w 4789647"/>
              <a:gd name="connsiteY83" fmla="*/ 3300272 h 4440186"/>
              <a:gd name="connsiteX84" fmla="*/ 160650 w 4789647"/>
              <a:gd name="connsiteY84" fmla="*/ 3274978 h 4440186"/>
              <a:gd name="connsiteX85" fmla="*/ 149756 w 4789647"/>
              <a:gd name="connsiteY85" fmla="*/ 3249495 h 4440186"/>
              <a:gd name="connsiteX86" fmla="*/ 139216 w 4789647"/>
              <a:gd name="connsiteY86" fmla="*/ 3223827 h 4440186"/>
              <a:gd name="connsiteX87" fmla="*/ 129036 w 4789647"/>
              <a:gd name="connsiteY87" fmla="*/ 3197977 h 4440186"/>
              <a:gd name="connsiteX88" fmla="*/ 119216 w 4789647"/>
              <a:gd name="connsiteY88" fmla="*/ 3171948 h 4440186"/>
              <a:gd name="connsiteX89" fmla="*/ 109761 w 4789647"/>
              <a:gd name="connsiteY89" fmla="*/ 3145743 h 4440186"/>
              <a:gd name="connsiteX90" fmla="*/ 100673 w 4789647"/>
              <a:gd name="connsiteY90" fmla="*/ 3119366 h 4440186"/>
              <a:gd name="connsiteX91" fmla="*/ 91957 w 4789647"/>
              <a:gd name="connsiteY91" fmla="*/ 3092819 h 4440186"/>
              <a:gd name="connsiteX92" fmla="*/ 83614 w 4789647"/>
              <a:gd name="connsiteY92" fmla="*/ 3066105 h 4440186"/>
              <a:gd name="connsiteX93" fmla="*/ 75648 w 4789647"/>
              <a:gd name="connsiteY93" fmla="*/ 3039228 h 4440186"/>
              <a:gd name="connsiteX94" fmla="*/ 68061 w 4789647"/>
              <a:gd name="connsiteY94" fmla="*/ 3012191 h 4440186"/>
              <a:gd name="connsiteX95" fmla="*/ 60858 w 4789647"/>
              <a:gd name="connsiteY95" fmla="*/ 2984996 h 4440186"/>
              <a:gd name="connsiteX96" fmla="*/ 54040 w 4789647"/>
              <a:gd name="connsiteY96" fmla="*/ 2957647 h 4440186"/>
              <a:gd name="connsiteX97" fmla="*/ 47612 w 4789647"/>
              <a:gd name="connsiteY97" fmla="*/ 2930147 h 4440186"/>
              <a:gd name="connsiteX98" fmla="*/ 41577 w 4789647"/>
              <a:gd name="connsiteY98" fmla="*/ 2902499 h 4440186"/>
              <a:gd name="connsiteX99" fmla="*/ 35936 w 4789647"/>
              <a:gd name="connsiteY99" fmla="*/ 2874706 h 4440186"/>
              <a:gd name="connsiteX100" fmla="*/ 30694 w 4789647"/>
              <a:gd name="connsiteY100" fmla="*/ 2846771 h 4440186"/>
              <a:gd name="connsiteX101" fmla="*/ 25854 w 4789647"/>
              <a:gd name="connsiteY101" fmla="*/ 2818697 h 4440186"/>
              <a:gd name="connsiteX102" fmla="*/ 21419 w 4789647"/>
              <a:gd name="connsiteY102" fmla="*/ 2790489 h 4440186"/>
              <a:gd name="connsiteX103" fmla="*/ 17391 w 4789647"/>
              <a:gd name="connsiteY103" fmla="*/ 2762147 h 4440186"/>
              <a:gd name="connsiteX104" fmla="*/ 13774 w 4789647"/>
              <a:gd name="connsiteY104" fmla="*/ 2733675 h 4440186"/>
              <a:gd name="connsiteX105" fmla="*/ 10571 w 4789647"/>
              <a:gd name="connsiteY105" fmla="*/ 2705078 h 4440186"/>
              <a:gd name="connsiteX106" fmla="*/ 7785 w 4789647"/>
              <a:gd name="connsiteY106" fmla="*/ 2676357 h 4440186"/>
              <a:gd name="connsiteX107" fmla="*/ 5419 w 4789647"/>
              <a:gd name="connsiteY107" fmla="*/ 2647516 h 4440186"/>
              <a:gd name="connsiteX108" fmla="*/ 3476 w 4789647"/>
              <a:gd name="connsiteY108" fmla="*/ 2618558 h 4440186"/>
              <a:gd name="connsiteX109" fmla="*/ 1960 w 4789647"/>
              <a:gd name="connsiteY109" fmla="*/ 2589486 h 4440186"/>
              <a:gd name="connsiteX110" fmla="*/ 873 w 4789647"/>
              <a:gd name="connsiteY110" fmla="*/ 2560303 h 4440186"/>
              <a:gd name="connsiteX111" fmla="*/ 219 w 4789647"/>
              <a:gd name="connsiteY111" fmla="*/ 2531012 h 4440186"/>
              <a:gd name="connsiteX112" fmla="*/ 0 w 4789647"/>
              <a:gd name="connsiteY112" fmla="*/ 2501616 h 44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789647" h="4440186">
                <a:moveTo>
                  <a:pt x="0" y="0"/>
                </a:moveTo>
                <a:lnTo>
                  <a:pt x="4789647" y="0"/>
                </a:lnTo>
                <a:lnTo>
                  <a:pt x="4789647" y="4440186"/>
                </a:lnTo>
                <a:lnTo>
                  <a:pt x="1938570" y="4440186"/>
                </a:lnTo>
                <a:lnTo>
                  <a:pt x="1909174" y="4439968"/>
                </a:lnTo>
                <a:lnTo>
                  <a:pt x="1879884" y="4439313"/>
                </a:lnTo>
                <a:lnTo>
                  <a:pt x="1850700" y="4438226"/>
                </a:lnTo>
                <a:lnTo>
                  <a:pt x="1821628" y="4436710"/>
                </a:lnTo>
                <a:lnTo>
                  <a:pt x="1792670" y="4434767"/>
                </a:lnTo>
                <a:lnTo>
                  <a:pt x="1763829" y="4432402"/>
                </a:lnTo>
                <a:lnTo>
                  <a:pt x="1735108" y="4429616"/>
                </a:lnTo>
                <a:lnTo>
                  <a:pt x="1706510" y="4426413"/>
                </a:lnTo>
                <a:lnTo>
                  <a:pt x="1678040" y="4422796"/>
                </a:lnTo>
                <a:lnTo>
                  <a:pt x="1649698" y="4418768"/>
                </a:lnTo>
                <a:lnTo>
                  <a:pt x="1621488" y="4414332"/>
                </a:lnTo>
                <a:lnTo>
                  <a:pt x="1593415" y="4409492"/>
                </a:lnTo>
                <a:lnTo>
                  <a:pt x="1565480" y="4404250"/>
                </a:lnTo>
                <a:lnTo>
                  <a:pt x="1537687" y="4398610"/>
                </a:lnTo>
                <a:lnTo>
                  <a:pt x="1510039" y="4392574"/>
                </a:lnTo>
                <a:lnTo>
                  <a:pt x="1482539" y="4386146"/>
                </a:lnTo>
                <a:lnTo>
                  <a:pt x="1455190" y="4379329"/>
                </a:lnTo>
                <a:lnTo>
                  <a:pt x="1427995" y="4372125"/>
                </a:lnTo>
                <a:lnTo>
                  <a:pt x="1400958" y="4364539"/>
                </a:lnTo>
                <a:lnTo>
                  <a:pt x="1374080" y="4356572"/>
                </a:lnTo>
                <a:lnTo>
                  <a:pt x="1347367" y="4348230"/>
                </a:lnTo>
                <a:lnTo>
                  <a:pt x="1320820" y="4339513"/>
                </a:lnTo>
                <a:lnTo>
                  <a:pt x="1294442" y="4330425"/>
                </a:lnTo>
                <a:lnTo>
                  <a:pt x="1268238" y="4320970"/>
                </a:lnTo>
                <a:lnTo>
                  <a:pt x="1242209" y="4311151"/>
                </a:lnTo>
                <a:lnTo>
                  <a:pt x="1216359" y="4300970"/>
                </a:lnTo>
                <a:lnTo>
                  <a:pt x="1190691" y="4290430"/>
                </a:lnTo>
                <a:lnTo>
                  <a:pt x="1165209" y="4279536"/>
                </a:lnTo>
                <a:lnTo>
                  <a:pt x="1139914" y="4268290"/>
                </a:lnTo>
                <a:lnTo>
                  <a:pt x="1114810" y="4256694"/>
                </a:lnTo>
                <a:lnTo>
                  <a:pt x="1089902" y="4244753"/>
                </a:lnTo>
                <a:lnTo>
                  <a:pt x="1065191" y="4232468"/>
                </a:lnTo>
                <a:lnTo>
                  <a:pt x="1040680" y="4219844"/>
                </a:lnTo>
                <a:lnTo>
                  <a:pt x="1016373" y="4206884"/>
                </a:lnTo>
                <a:lnTo>
                  <a:pt x="992272" y="4193589"/>
                </a:lnTo>
                <a:lnTo>
                  <a:pt x="968382" y="4179965"/>
                </a:lnTo>
                <a:lnTo>
                  <a:pt x="944704" y="4166013"/>
                </a:lnTo>
                <a:lnTo>
                  <a:pt x="921243" y="4151736"/>
                </a:lnTo>
                <a:lnTo>
                  <a:pt x="898000" y="4137139"/>
                </a:lnTo>
                <a:lnTo>
                  <a:pt x="874980" y="4122224"/>
                </a:lnTo>
                <a:lnTo>
                  <a:pt x="852185" y="4106993"/>
                </a:lnTo>
                <a:lnTo>
                  <a:pt x="829619" y="4091451"/>
                </a:lnTo>
                <a:lnTo>
                  <a:pt x="807284" y="4075600"/>
                </a:lnTo>
                <a:lnTo>
                  <a:pt x="785183" y="4059442"/>
                </a:lnTo>
                <a:lnTo>
                  <a:pt x="763321" y="4042983"/>
                </a:lnTo>
                <a:lnTo>
                  <a:pt x="741699" y="4026224"/>
                </a:lnTo>
                <a:lnTo>
                  <a:pt x="720321" y="4009168"/>
                </a:lnTo>
                <a:lnTo>
                  <a:pt x="699190" y="3991819"/>
                </a:lnTo>
                <a:lnTo>
                  <a:pt x="678309" y="3974180"/>
                </a:lnTo>
                <a:lnTo>
                  <a:pt x="657681" y="3956254"/>
                </a:lnTo>
                <a:lnTo>
                  <a:pt x="637309" y="3938043"/>
                </a:lnTo>
                <a:lnTo>
                  <a:pt x="617197" y="3919552"/>
                </a:lnTo>
                <a:lnTo>
                  <a:pt x="597347" y="3900783"/>
                </a:lnTo>
                <a:lnTo>
                  <a:pt x="577763" y="3881739"/>
                </a:lnTo>
                <a:lnTo>
                  <a:pt x="558447" y="3862423"/>
                </a:lnTo>
                <a:lnTo>
                  <a:pt x="539403" y="3842839"/>
                </a:lnTo>
                <a:lnTo>
                  <a:pt x="520634" y="3822989"/>
                </a:lnTo>
                <a:lnTo>
                  <a:pt x="502143" y="3802877"/>
                </a:lnTo>
                <a:lnTo>
                  <a:pt x="483932" y="3782505"/>
                </a:lnTo>
                <a:lnTo>
                  <a:pt x="466006" y="3761878"/>
                </a:lnTo>
                <a:lnTo>
                  <a:pt x="448367" y="3740996"/>
                </a:lnTo>
                <a:lnTo>
                  <a:pt x="431018" y="3719865"/>
                </a:lnTo>
                <a:lnTo>
                  <a:pt x="413962" y="3698487"/>
                </a:lnTo>
                <a:lnTo>
                  <a:pt x="397204" y="3676865"/>
                </a:lnTo>
                <a:lnTo>
                  <a:pt x="380744" y="3655003"/>
                </a:lnTo>
                <a:lnTo>
                  <a:pt x="364587" y="3632902"/>
                </a:lnTo>
                <a:lnTo>
                  <a:pt x="348735" y="3610567"/>
                </a:lnTo>
                <a:lnTo>
                  <a:pt x="333193" y="3588001"/>
                </a:lnTo>
                <a:lnTo>
                  <a:pt x="317962" y="3565206"/>
                </a:lnTo>
                <a:lnTo>
                  <a:pt x="303047" y="3542186"/>
                </a:lnTo>
                <a:lnTo>
                  <a:pt x="288450" y="3518943"/>
                </a:lnTo>
                <a:lnTo>
                  <a:pt x="274174" y="3495482"/>
                </a:lnTo>
                <a:lnTo>
                  <a:pt x="260221" y="3471805"/>
                </a:lnTo>
                <a:lnTo>
                  <a:pt x="246597" y="3447914"/>
                </a:lnTo>
                <a:lnTo>
                  <a:pt x="233302" y="3423814"/>
                </a:lnTo>
                <a:lnTo>
                  <a:pt x="220342" y="3399507"/>
                </a:lnTo>
                <a:lnTo>
                  <a:pt x="207718" y="3374996"/>
                </a:lnTo>
                <a:lnTo>
                  <a:pt x="195434" y="3350284"/>
                </a:lnTo>
                <a:lnTo>
                  <a:pt x="183492" y="3325376"/>
                </a:lnTo>
                <a:lnTo>
                  <a:pt x="171897" y="3300272"/>
                </a:lnTo>
                <a:lnTo>
                  <a:pt x="160650" y="3274978"/>
                </a:lnTo>
                <a:lnTo>
                  <a:pt x="149756" y="3249495"/>
                </a:lnTo>
                <a:lnTo>
                  <a:pt x="139216" y="3223827"/>
                </a:lnTo>
                <a:lnTo>
                  <a:pt x="129036" y="3197977"/>
                </a:lnTo>
                <a:lnTo>
                  <a:pt x="119216" y="3171948"/>
                </a:lnTo>
                <a:lnTo>
                  <a:pt x="109761" y="3145743"/>
                </a:lnTo>
                <a:lnTo>
                  <a:pt x="100673" y="3119366"/>
                </a:lnTo>
                <a:lnTo>
                  <a:pt x="91957" y="3092819"/>
                </a:lnTo>
                <a:lnTo>
                  <a:pt x="83614" y="3066105"/>
                </a:lnTo>
                <a:lnTo>
                  <a:pt x="75648" y="3039228"/>
                </a:lnTo>
                <a:lnTo>
                  <a:pt x="68061" y="3012191"/>
                </a:lnTo>
                <a:lnTo>
                  <a:pt x="60858" y="2984996"/>
                </a:lnTo>
                <a:lnTo>
                  <a:pt x="54040" y="2957647"/>
                </a:lnTo>
                <a:lnTo>
                  <a:pt x="47612" y="2930147"/>
                </a:lnTo>
                <a:lnTo>
                  <a:pt x="41577" y="2902499"/>
                </a:lnTo>
                <a:lnTo>
                  <a:pt x="35936" y="2874706"/>
                </a:lnTo>
                <a:lnTo>
                  <a:pt x="30694" y="2846771"/>
                </a:lnTo>
                <a:lnTo>
                  <a:pt x="25854" y="2818697"/>
                </a:lnTo>
                <a:lnTo>
                  <a:pt x="21419" y="2790489"/>
                </a:lnTo>
                <a:lnTo>
                  <a:pt x="17391" y="2762147"/>
                </a:lnTo>
                <a:lnTo>
                  <a:pt x="13774" y="2733675"/>
                </a:lnTo>
                <a:lnTo>
                  <a:pt x="10571" y="2705078"/>
                </a:lnTo>
                <a:lnTo>
                  <a:pt x="7785" y="2676357"/>
                </a:lnTo>
                <a:lnTo>
                  <a:pt x="5419" y="2647516"/>
                </a:lnTo>
                <a:lnTo>
                  <a:pt x="3476" y="2618558"/>
                </a:lnTo>
                <a:lnTo>
                  <a:pt x="1960" y="2589486"/>
                </a:lnTo>
                <a:lnTo>
                  <a:pt x="873" y="2560303"/>
                </a:lnTo>
                <a:lnTo>
                  <a:pt x="219" y="2531012"/>
                </a:lnTo>
                <a:lnTo>
                  <a:pt x="0" y="2501616"/>
                </a:lnTo>
                <a:close/>
              </a:path>
            </a:pathLst>
          </a:custGeom>
        </p:spPr>
        <p:txBody>
          <a:bodyPr wrap="square">
            <a:noAutofit/>
          </a:bodyPr>
          <a:lstStyle>
            <a:lvl1pPr marL="0" indent="0">
              <a:buNone/>
              <a:defRPr>
                <a:solidFill>
                  <a:schemeClr val="bg1"/>
                </a:solidFill>
              </a:defRPr>
            </a:lvl1pPr>
          </a:lstStyle>
          <a:p>
            <a:r>
              <a:rPr lang="en-US" noProof="0"/>
              <a:t>Click icon to add picture</a:t>
            </a:r>
            <a:endParaRPr lang="en-US" noProof="0" dirty="0"/>
          </a:p>
        </p:txBody>
      </p:sp>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tx2"/>
                </a:solidFill>
              </a:defRPr>
            </a:lvl1pPr>
          </a:lstStyle>
          <a:p>
            <a:r>
              <a:rPr lang="en-US" noProof="0" dirty="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04925"/>
            <a:ext cx="4838004" cy="4608512"/>
          </a:xfrm>
        </p:spPr>
        <p:txBody>
          <a:bodyPr>
            <a:noAutofit/>
          </a:bodyPr>
          <a:lstStyle>
            <a:lvl1pPr>
              <a:defRPr sz="1600">
                <a:solidFill>
                  <a:schemeClr val="tx2"/>
                </a:solidFill>
                <a:latin typeface="Lexend BD" pitchFamily="2" charset="0"/>
              </a:defRPr>
            </a:lvl1pPr>
            <a:lvl2pPr>
              <a:defRPr sz="1600"/>
            </a:lvl2pPr>
            <a:lvl3pPr>
              <a:defRPr sz="1600"/>
            </a:lvl3pPr>
            <a:lvl4pPr>
              <a:defRPr sz="1600"/>
            </a:lvl4pPr>
            <a:lvl5pPr>
              <a:defRPr sz="1600"/>
            </a:lvl5pPr>
            <a:lvl6pPr marL="0" indent="0">
              <a:buFontTx/>
              <a:buNone/>
              <a:defRPr sz="1600"/>
            </a:lvl6pPr>
          </a:lstStyle>
          <a:p>
            <a:pPr lvl="0"/>
            <a:r>
              <a:rPr lang="en-US" noProof="0" dirty="0"/>
              <a:t>Lorem ipsum dolor sit amet, consectetuer adipiscing elit. Maecenas porttitor congue massa. Fusce posuere, magna sed pulvinar ultricies, purus lectus malesuada libero, sit amet commodo magna eros quis urna.</a:t>
            </a:r>
          </a:p>
          <a:p>
            <a:pPr lvl="0"/>
            <a:endParaRPr lang="en-US" noProof="0" dirty="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tx2"/>
                </a:solidFill>
              </a:defRPr>
            </a:lvl1pPr>
          </a:lstStyle>
          <a:p>
            <a:pPr lvl="0"/>
            <a:r>
              <a:rPr lang="en-US" noProof="0"/>
              <a:t>Topline</a:t>
            </a:r>
            <a:endParaRPr lang="en-US" noProof="0" dirty="0"/>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tx2"/>
                </a:solidFill>
              </a:defRPr>
            </a:lvl1p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18016252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1B21D90-9527-D4BA-D5D6-44BF1191E543}"/>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graphicFrame>
        <p:nvGraphicFramePr>
          <p:cNvPr id="3" name="Object 2" hidden="1">
            <a:extLst>
              <a:ext uri="{FF2B5EF4-FFF2-40B4-BE49-F238E27FC236}">
                <a16:creationId xmlns:a16="http://schemas.microsoft.com/office/drawing/2014/main" id="{48B947A7-049B-C730-FA11-7792B23B1702}"/>
              </a:ext>
            </a:extLst>
          </p:cNvPr>
          <p:cNvGraphicFramePr>
            <a:graphicFrameLocks noChangeAspect="1"/>
          </p:cNvGraphicFramePr>
          <p:nvPr>
            <p:custDataLst>
              <p:tags r:id="rId1"/>
            </p:custDataLst>
            <p:extLst>
              <p:ext uri="{D42A27DB-BD31-4B8C-83A1-F6EECF244321}">
                <p14:modId xmlns:p14="http://schemas.microsoft.com/office/powerpoint/2010/main" val="228181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48B947A7-049B-C730-FA11-7792B23B1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7D9DD465-DA2D-D889-7408-6A0D3AB0FAAD}"/>
              </a:ext>
            </a:extLst>
          </p:cNvPr>
          <p:cNvSpPr>
            <a:spLocks noGrp="1"/>
          </p:cNvSpPr>
          <p:nvPr>
            <p:ph type="pic" sz="quarter" idx="11"/>
          </p:nvPr>
        </p:nvSpPr>
        <p:spPr bwMode="gray">
          <a:xfrm>
            <a:off x="6953250" y="1528730"/>
            <a:ext cx="4858429" cy="4384708"/>
          </a:xfrm>
          <a:custGeom>
            <a:avLst/>
            <a:gdLst>
              <a:gd name="connsiteX0" fmla="*/ 0 w 4789647"/>
              <a:gd name="connsiteY0" fmla="*/ 0 h 4440186"/>
              <a:gd name="connsiteX1" fmla="*/ 4789647 w 4789647"/>
              <a:gd name="connsiteY1" fmla="*/ 0 h 4440186"/>
              <a:gd name="connsiteX2" fmla="*/ 4789647 w 4789647"/>
              <a:gd name="connsiteY2" fmla="*/ 4440186 h 4440186"/>
              <a:gd name="connsiteX3" fmla="*/ 1938570 w 4789647"/>
              <a:gd name="connsiteY3" fmla="*/ 4440186 h 4440186"/>
              <a:gd name="connsiteX4" fmla="*/ 1909174 w 4789647"/>
              <a:gd name="connsiteY4" fmla="*/ 4439968 h 4440186"/>
              <a:gd name="connsiteX5" fmla="*/ 1879884 w 4789647"/>
              <a:gd name="connsiteY5" fmla="*/ 4439313 h 4440186"/>
              <a:gd name="connsiteX6" fmla="*/ 1850700 w 4789647"/>
              <a:gd name="connsiteY6" fmla="*/ 4438226 h 4440186"/>
              <a:gd name="connsiteX7" fmla="*/ 1821628 w 4789647"/>
              <a:gd name="connsiteY7" fmla="*/ 4436710 h 4440186"/>
              <a:gd name="connsiteX8" fmla="*/ 1792670 w 4789647"/>
              <a:gd name="connsiteY8" fmla="*/ 4434767 h 4440186"/>
              <a:gd name="connsiteX9" fmla="*/ 1763829 w 4789647"/>
              <a:gd name="connsiteY9" fmla="*/ 4432402 h 4440186"/>
              <a:gd name="connsiteX10" fmla="*/ 1735108 w 4789647"/>
              <a:gd name="connsiteY10" fmla="*/ 4429616 h 4440186"/>
              <a:gd name="connsiteX11" fmla="*/ 1706510 w 4789647"/>
              <a:gd name="connsiteY11" fmla="*/ 4426413 h 4440186"/>
              <a:gd name="connsiteX12" fmla="*/ 1678040 w 4789647"/>
              <a:gd name="connsiteY12" fmla="*/ 4422796 h 4440186"/>
              <a:gd name="connsiteX13" fmla="*/ 1649698 w 4789647"/>
              <a:gd name="connsiteY13" fmla="*/ 4418768 h 4440186"/>
              <a:gd name="connsiteX14" fmla="*/ 1621488 w 4789647"/>
              <a:gd name="connsiteY14" fmla="*/ 4414332 h 4440186"/>
              <a:gd name="connsiteX15" fmla="*/ 1593415 w 4789647"/>
              <a:gd name="connsiteY15" fmla="*/ 4409492 h 4440186"/>
              <a:gd name="connsiteX16" fmla="*/ 1565480 w 4789647"/>
              <a:gd name="connsiteY16" fmla="*/ 4404250 h 4440186"/>
              <a:gd name="connsiteX17" fmla="*/ 1537687 w 4789647"/>
              <a:gd name="connsiteY17" fmla="*/ 4398610 h 4440186"/>
              <a:gd name="connsiteX18" fmla="*/ 1510039 w 4789647"/>
              <a:gd name="connsiteY18" fmla="*/ 4392574 h 4440186"/>
              <a:gd name="connsiteX19" fmla="*/ 1482539 w 4789647"/>
              <a:gd name="connsiteY19" fmla="*/ 4386146 h 4440186"/>
              <a:gd name="connsiteX20" fmla="*/ 1455190 w 4789647"/>
              <a:gd name="connsiteY20" fmla="*/ 4379329 h 4440186"/>
              <a:gd name="connsiteX21" fmla="*/ 1427995 w 4789647"/>
              <a:gd name="connsiteY21" fmla="*/ 4372125 h 4440186"/>
              <a:gd name="connsiteX22" fmla="*/ 1400958 w 4789647"/>
              <a:gd name="connsiteY22" fmla="*/ 4364539 h 4440186"/>
              <a:gd name="connsiteX23" fmla="*/ 1374080 w 4789647"/>
              <a:gd name="connsiteY23" fmla="*/ 4356572 h 4440186"/>
              <a:gd name="connsiteX24" fmla="*/ 1347367 w 4789647"/>
              <a:gd name="connsiteY24" fmla="*/ 4348230 h 4440186"/>
              <a:gd name="connsiteX25" fmla="*/ 1320820 w 4789647"/>
              <a:gd name="connsiteY25" fmla="*/ 4339513 h 4440186"/>
              <a:gd name="connsiteX26" fmla="*/ 1294442 w 4789647"/>
              <a:gd name="connsiteY26" fmla="*/ 4330425 h 4440186"/>
              <a:gd name="connsiteX27" fmla="*/ 1268238 w 4789647"/>
              <a:gd name="connsiteY27" fmla="*/ 4320970 h 4440186"/>
              <a:gd name="connsiteX28" fmla="*/ 1242209 w 4789647"/>
              <a:gd name="connsiteY28" fmla="*/ 4311151 h 4440186"/>
              <a:gd name="connsiteX29" fmla="*/ 1216359 w 4789647"/>
              <a:gd name="connsiteY29" fmla="*/ 4300970 h 4440186"/>
              <a:gd name="connsiteX30" fmla="*/ 1190691 w 4789647"/>
              <a:gd name="connsiteY30" fmla="*/ 4290430 h 4440186"/>
              <a:gd name="connsiteX31" fmla="*/ 1165209 w 4789647"/>
              <a:gd name="connsiteY31" fmla="*/ 4279536 h 4440186"/>
              <a:gd name="connsiteX32" fmla="*/ 1139914 w 4789647"/>
              <a:gd name="connsiteY32" fmla="*/ 4268290 h 4440186"/>
              <a:gd name="connsiteX33" fmla="*/ 1114810 w 4789647"/>
              <a:gd name="connsiteY33" fmla="*/ 4256694 h 4440186"/>
              <a:gd name="connsiteX34" fmla="*/ 1089902 w 4789647"/>
              <a:gd name="connsiteY34" fmla="*/ 4244753 h 4440186"/>
              <a:gd name="connsiteX35" fmla="*/ 1065191 w 4789647"/>
              <a:gd name="connsiteY35" fmla="*/ 4232468 h 4440186"/>
              <a:gd name="connsiteX36" fmla="*/ 1040680 w 4789647"/>
              <a:gd name="connsiteY36" fmla="*/ 4219844 h 4440186"/>
              <a:gd name="connsiteX37" fmla="*/ 1016373 w 4789647"/>
              <a:gd name="connsiteY37" fmla="*/ 4206884 h 4440186"/>
              <a:gd name="connsiteX38" fmla="*/ 992272 w 4789647"/>
              <a:gd name="connsiteY38" fmla="*/ 4193589 h 4440186"/>
              <a:gd name="connsiteX39" fmla="*/ 968382 w 4789647"/>
              <a:gd name="connsiteY39" fmla="*/ 4179965 h 4440186"/>
              <a:gd name="connsiteX40" fmla="*/ 944704 w 4789647"/>
              <a:gd name="connsiteY40" fmla="*/ 4166013 h 4440186"/>
              <a:gd name="connsiteX41" fmla="*/ 921243 w 4789647"/>
              <a:gd name="connsiteY41" fmla="*/ 4151736 h 4440186"/>
              <a:gd name="connsiteX42" fmla="*/ 898000 w 4789647"/>
              <a:gd name="connsiteY42" fmla="*/ 4137139 h 4440186"/>
              <a:gd name="connsiteX43" fmla="*/ 874980 w 4789647"/>
              <a:gd name="connsiteY43" fmla="*/ 4122224 h 4440186"/>
              <a:gd name="connsiteX44" fmla="*/ 852185 w 4789647"/>
              <a:gd name="connsiteY44" fmla="*/ 4106993 h 4440186"/>
              <a:gd name="connsiteX45" fmla="*/ 829619 w 4789647"/>
              <a:gd name="connsiteY45" fmla="*/ 4091451 h 4440186"/>
              <a:gd name="connsiteX46" fmla="*/ 807284 w 4789647"/>
              <a:gd name="connsiteY46" fmla="*/ 4075600 h 4440186"/>
              <a:gd name="connsiteX47" fmla="*/ 785183 w 4789647"/>
              <a:gd name="connsiteY47" fmla="*/ 4059442 h 4440186"/>
              <a:gd name="connsiteX48" fmla="*/ 763321 w 4789647"/>
              <a:gd name="connsiteY48" fmla="*/ 4042983 h 4440186"/>
              <a:gd name="connsiteX49" fmla="*/ 741699 w 4789647"/>
              <a:gd name="connsiteY49" fmla="*/ 4026224 h 4440186"/>
              <a:gd name="connsiteX50" fmla="*/ 720321 w 4789647"/>
              <a:gd name="connsiteY50" fmla="*/ 4009168 h 4440186"/>
              <a:gd name="connsiteX51" fmla="*/ 699190 w 4789647"/>
              <a:gd name="connsiteY51" fmla="*/ 3991819 h 4440186"/>
              <a:gd name="connsiteX52" fmla="*/ 678309 w 4789647"/>
              <a:gd name="connsiteY52" fmla="*/ 3974180 h 4440186"/>
              <a:gd name="connsiteX53" fmla="*/ 657681 w 4789647"/>
              <a:gd name="connsiteY53" fmla="*/ 3956254 h 4440186"/>
              <a:gd name="connsiteX54" fmla="*/ 637309 w 4789647"/>
              <a:gd name="connsiteY54" fmla="*/ 3938043 h 4440186"/>
              <a:gd name="connsiteX55" fmla="*/ 617197 w 4789647"/>
              <a:gd name="connsiteY55" fmla="*/ 3919552 h 4440186"/>
              <a:gd name="connsiteX56" fmla="*/ 597347 w 4789647"/>
              <a:gd name="connsiteY56" fmla="*/ 3900783 h 4440186"/>
              <a:gd name="connsiteX57" fmla="*/ 577763 w 4789647"/>
              <a:gd name="connsiteY57" fmla="*/ 3881739 h 4440186"/>
              <a:gd name="connsiteX58" fmla="*/ 558447 w 4789647"/>
              <a:gd name="connsiteY58" fmla="*/ 3862423 h 4440186"/>
              <a:gd name="connsiteX59" fmla="*/ 539403 w 4789647"/>
              <a:gd name="connsiteY59" fmla="*/ 3842839 h 4440186"/>
              <a:gd name="connsiteX60" fmla="*/ 520634 w 4789647"/>
              <a:gd name="connsiteY60" fmla="*/ 3822989 h 4440186"/>
              <a:gd name="connsiteX61" fmla="*/ 502143 w 4789647"/>
              <a:gd name="connsiteY61" fmla="*/ 3802877 h 4440186"/>
              <a:gd name="connsiteX62" fmla="*/ 483932 w 4789647"/>
              <a:gd name="connsiteY62" fmla="*/ 3782505 h 4440186"/>
              <a:gd name="connsiteX63" fmla="*/ 466006 w 4789647"/>
              <a:gd name="connsiteY63" fmla="*/ 3761878 h 4440186"/>
              <a:gd name="connsiteX64" fmla="*/ 448367 w 4789647"/>
              <a:gd name="connsiteY64" fmla="*/ 3740996 h 4440186"/>
              <a:gd name="connsiteX65" fmla="*/ 431018 w 4789647"/>
              <a:gd name="connsiteY65" fmla="*/ 3719865 h 4440186"/>
              <a:gd name="connsiteX66" fmla="*/ 413962 w 4789647"/>
              <a:gd name="connsiteY66" fmla="*/ 3698487 h 4440186"/>
              <a:gd name="connsiteX67" fmla="*/ 397204 w 4789647"/>
              <a:gd name="connsiteY67" fmla="*/ 3676865 h 4440186"/>
              <a:gd name="connsiteX68" fmla="*/ 380744 w 4789647"/>
              <a:gd name="connsiteY68" fmla="*/ 3655003 h 4440186"/>
              <a:gd name="connsiteX69" fmla="*/ 364587 w 4789647"/>
              <a:gd name="connsiteY69" fmla="*/ 3632902 h 4440186"/>
              <a:gd name="connsiteX70" fmla="*/ 348735 w 4789647"/>
              <a:gd name="connsiteY70" fmla="*/ 3610567 h 4440186"/>
              <a:gd name="connsiteX71" fmla="*/ 333193 w 4789647"/>
              <a:gd name="connsiteY71" fmla="*/ 3588001 h 4440186"/>
              <a:gd name="connsiteX72" fmla="*/ 317962 w 4789647"/>
              <a:gd name="connsiteY72" fmla="*/ 3565206 h 4440186"/>
              <a:gd name="connsiteX73" fmla="*/ 303047 w 4789647"/>
              <a:gd name="connsiteY73" fmla="*/ 3542186 h 4440186"/>
              <a:gd name="connsiteX74" fmla="*/ 288450 w 4789647"/>
              <a:gd name="connsiteY74" fmla="*/ 3518943 h 4440186"/>
              <a:gd name="connsiteX75" fmla="*/ 274174 w 4789647"/>
              <a:gd name="connsiteY75" fmla="*/ 3495482 h 4440186"/>
              <a:gd name="connsiteX76" fmla="*/ 260221 w 4789647"/>
              <a:gd name="connsiteY76" fmla="*/ 3471805 h 4440186"/>
              <a:gd name="connsiteX77" fmla="*/ 246597 w 4789647"/>
              <a:gd name="connsiteY77" fmla="*/ 3447914 h 4440186"/>
              <a:gd name="connsiteX78" fmla="*/ 233302 w 4789647"/>
              <a:gd name="connsiteY78" fmla="*/ 3423814 h 4440186"/>
              <a:gd name="connsiteX79" fmla="*/ 220342 w 4789647"/>
              <a:gd name="connsiteY79" fmla="*/ 3399507 h 4440186"/>
              <a:gd name="connsiteX80" fmla="*/ 207718 w 4789647"/>
              <a:gd name="connsiteY80" fmla="*/ 3374996 h 4440186"/>
              <a:gd name="connsiteX81" fmla="*/ 195434 w 4789647"/>
              <a:gd name="connsiteY81" fmla="*/ 3350284 h 4440186"/>
              <a:gd name="connsiteX82" fmla="*/ 183492 w 4789647"/>
              <a:gd name="connsiteY82" fmla="*/ 3325376 h 4440186"/>
              <a:gd name="connsiteX83" fmla="*/ 171897 w 4789647"/>
              <a:gd name="connsiteY83" fmla="*/ 3300272 h 4440186"/>
              <a:gd name="connsiteX84" fmla="*/ 160650 w 4789647"/>
              <a:gd name="connsiteY84" fmla="*/ 3274978 h 4440186"/>
              <a:gd name="connsiteX85" fmla="*/ 149756 w 4789647"/>
              <a:gd name="connsiteY85" fmla="*/ 3249495 h 4440186"/>
              <a:gd name="connsiteX86" fmla="*/ 139216 w 4789647"/>
              <a:gd name="connsiteY86" fmla="*/ 3223827 h 4440186"/>
              <a:gd name="connsiteX87" fmla="*/ 129036 w 4789647"/>
              <a:gd name="connsiteY87" fmla="*/ 3197977 h 4440186"/>
              <a:gd name="connsiteX88" fmla="*/ 119216 w 4789647"/>
              <a:gd name="connsiteY88" fmla="*/ 3171948 h 4440186"/>
              <a:gd name="connsiteX89" fmla="*/ 109761 w 4789647"/>
              <a:gd name="connsiteY89" fmla="*/ 3145743 h 4440186"/>
              <a:gd name="connsiteX90" fmla="*/ 100673 w 4789647"/>
              <a:gd name="connsiteY90" fmla="*/ 3119366 h 4440186"/>
              <a:gd name="connsiteX91" fmla="*/ 91957 w 4789647"/>
              <a:gd name="connsiteY91" fmla="*/ 3092819 h 4440186"/>
              <a:gd name="connsiteX92" fmla="*/ 83614 w 4789647"/>
              <a:gd name="connsiteY92" fmla="*/ 3066105 h 4440186"/>
              <a:gd name="connsiteX93" fmla="*/ 75648 w 4789647"/>
              <a:gd name="connsiteY93" fmla="*/ 3039228 h 4440186"/>
              <a:gd name="connsiteX94" fmla="*/ 68061 w 4789647"/>
              <a:gd name="connsiteY94" fmla="*/ 3012191 h 4440186"/>
              <a:gd name="connsiteX95" fmla="*/ 60858 w 4789647"/>
              <a:gd name="connsiteY95" fmla="*/ 2984996 h 4440186"/>
              <a:gd name="connsiteX96" fmla="*/ 54040 w 4789647"/>
              <a:gd name="connsiteY96" fmla="*/ 2957647 h 4440186"/>
              <a:gd name="connsiteX97" fmla="*/ 47612 w 4789647"/>
              <a:gd name="connsiteY97" fmla="*/ 2930147 h 4440186"/>
              <a:gd name="connsiteX98" fmla="*/ 41577 w 4789647"/>
              <a:gd name="connsiteY98" fmla="*/ 2902499 h 4440186"/>
              <a:gd name="connsiteX99" fmla="*/ 35936 w 4789647"/>
              <a:gd name="connsiteY99" fmla="*/ 2874706 h 4440186"/>
              <a:gd name="connsiteX100" fmla="*/ 30694 w 4789647"/>
              <a:gd name="connsiteY100" fmla="*/ 2846771 h 4440186"/>
              <a:gd name="connsiteX101" fmla="*/ 25854 w 4789647"/>
              <a:gd name="connsiteY101" fmla="*/ 2818697 h 4440186"/>
              <a:gd name="connsiteX102" fmla="*/ 21419 w 4789647"/>
              <a:gd name="connsiteY102" fmla="*/ 2790489 h 4440186"/>
              <a:gd name="connsiteX103" fmla="*/ 17391 w 4789647"/>
              <a:gd name="connsiteY103" fmla="*/ 2762147 h 4440186"/>
              <a:gd name="connsiteX104" fmla="*/ 13774 w 4789647"/>
              <a:gd name="connsiteY104" fmla="*/ 2733675 h 4440186"/>
              <a:gd name="connsiteX105" fmla="*/ 10571 w 4789647"/>
              <a:gd name="connsiteY105" fmla="*/ 2705078 h 4440186"/>
              <a:gd name="connsiteX106" fmla="*/ 7785 w 4789647"/>
              <a:gd name="connsiteY106" fmla="*/ 2676357 h 4440186"/>
              <a:gd name="connsiteX107" fmla="*/ 5419 w 4789647"/>
              <a:gd name="connsiteY107" fmla="*/ 2647516 h 4440186"/>
              <a:gd name="connsiteX108" fmla="*/ 3476 w 4789647"/>
              <a:gd name="connsiteY108" fmla="*/ 2618558 h 4440186"/>
              <a:gd name="connsiteX109" fmla="*/ 1960 w 4789647"/>
              <a:gd name="connsiteY109" fmla="*/ 2589486 h 4440186"/>
              <a:gd name="connsiteX110" fmla="*/ 873 w 4789647"/>
              <a:gd name="connsiteY110" fmla="*/ 2560303 h 4440186"/>
              <a:gd name="connsiteX111" fmla="*/ 219 w 4789647"/>
              <a:gd name="connsiteY111" fmla="*/ 2531012 h 4440186"/>
              <a:gd name="connsiteX112" fmla="*/ 0 w 4789647"/>
              <a:gd name="connsiteY112" fmla="*/ 2501616 h 44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789647" h="4440186">
                <a:moveTo>
                  <a:pt x="0" y="0"/>
                </a:moveTo>
                <a:lnTo>
                  <a:pt x="4789647" y="0"/>
                </a:lnTo>
                <a:lnTo>
                  <a:pt x="4789647" y="4440186"/>
                </a:lnTo>
                <a:lnTo>
                  <a:pt x="1938570" y="4440186"/>
                </a:lnTo>
                <a:lnTo>
                  <a:pt x="1909174" y="4439968"/>
                </a:lnTo>
                <a:lnTo>
                  <a:pt x="1879884" y="4439313"/>
                </a:lnTo>
                <a:lnTo>
                  <a:pt x="1850700" y="4438226"/>
                </a:lnTo>
                <a:lnTo>
                  <a:pt x="1821628" y="4436710"/>
                </a:lnTo>
                <a:lnTo>
                  <a:pt x="1792670" y="4434767"/>
                </a:lnTo>
                <a:lnTo>
                  <a:pt x="1763829" y="4432402"/>
                </a:lnTo>
                <a:lnTo>
                  <a:pt x="1735108" y="4429616"/>
                </a:lnTo>
                <a:lnTo>
                  <a:pt x="1706510" y="4426413"/>
                </a:lnTo>
                <a:lnTo>
                  <a:pt x="1678040" y="4422796"/>
                </a:lnTo>
                <a:lnTo>
                  <a:pt x="1649698" y="4418768"/>
                </a:lnTo>
                <a:lnTo>
                  <a:pt x="1621488" y="4414332"/>
                </a:lnTo>
                <a:lnTo>
                  <a:pt x="1593415" y="4409492"/>
                </a:lnTo>
                <a:lnTo>
                  <a:pt x="1565480" y="4404250"/>
                </a:lnTo>
                <a:lnTo>
                  <a:pt x="1537687" y="4398610"/>
                </a:lnTo>
                <a:lnTo>
                  <a:pt x="1510039" y="4392574"/>
                </a:lnTo>
                <a:lnTo>
                  <a:pt x="1482539" y="4386146"/>
                </a:lnTo>
                <a:lnTo>
                  <a:pt x="1455190" y="4379329"/>
                </a:lnTo>
                <a:lnTo>
                  <a:pt x="1427995" y="4372125"/>
                </a:lnTo>
                <a:lnTo>
                  <a:pt x="1400958" y="4364539"/>
                </a:lnTo>
                <a:lnTo>
                  <a:pt x="1374080" y="4356572"/>
                </a:lnTo>
                <a:lnTo>
                  <a:pt x="1347367" y="4348230"/>
                </a:lnTo>
                <a:lnTo>
                  <a:pt x="1320820" y="4339513"/>
                </a:lnTo>
                <a:lnTo>
                  <a:pt x="1294442" y="4330425"/>
                </a:lnTo>
                <a:lnTo>
                  <a:pt x="1268238" y="4320970"/>
                </a:lnTo>
                <a:lnTo>
                  <a:pt x="1242209" y="4311151"/>
                </a:lnTo>
                <a:lnTo>
                  <a:pt x="1216359" y="4300970"/>
                </a:lnTo>
                <a:lnTo>
                  <a:pt x="1190691" y="4290430"/>
                </a:lnTo>
                <a:lnTo>
                  <a:pt x="1165209" y="4279536"/>
                </a:lnTo>
                <a:lnTo>
                  <a:pt x="1139914" y="4268290"/>
                </a:lnTo>
                <a:lnTo>
                  <a:pt x="1114810" y="4256694"/>
                </a:lnTo>
                <a:lnTo>
                  <a:pt x="1089902" y="4244753"/>
                </a:lnTo>
                <a:lnTo>
                  <a:pt x="1065191" y="4232468"/>
                </a:lnTo>
                <a:lnTo>
                  <a:pt x="1040680" y="4219844"/>
                </a:lnTo>
                <a:lnTo>
                  <a:pt x="1016373" y="4206884"/>
                </a:lnTo>
                <a:lnTo>
                  <a:pt x="992272" y="4193589"/>
                </a:lnTo>
                <a:lnTo>
                  <a:pt x="968382" y="4179965"/>
                </a:lnTo>
                <a:lnTo>
                  <a:pt x="944704" y="4166013"/>
                </a:lnTo>
                <a:lnTo>
                  <a:pt x="921243" y="4151736"/>
                </a:lnTo>
                <a:lnTo>
                  <a:pt x="898000" y="4137139"/>
                </a:lnTo>
                <a:lnTo>
                  <a:pt x="874980" y="4122224"/>
                </a:lnTo>
                <a:lnTo>
                  <a:pt x="852185" y="4106993"/>
                </a:lnTo>
                <a:lnTo>
                  <a:pt x="829619" y="4091451"/>
                </a:lnTo>
                <a:lnTo>
                  <a:pt x="807284" y="4075600"/>
                </a:lnTo>
                <a:lnTo>
                  <a:pt x="785183" y="4059442"/>
                </a:lnTo>
                <a:lnTo>
                  <a:pt x="763321" y="4042983"/>
                </a:lnTo>
                <a:lnTo>
                  <a:pt x="741699" y="4026224"/>
                </a:lnTo>
                <a:lnTo>
                  <a:pt x="720321" y="4009168"/>
                </a:lnTo>
                <a:lnTo>
                  <a:pt x="699190" y="3991819"/>
                </a:lnTo>
                <a:lnTo>
                  <a:pt x="678309" y="3974180"/>
                </a:lnTo>
                <a:lnTo>
                  <a:pt x="657681" y="3956254"/>
                </a:lnTo>
                <a:lnTo>
                  <a:pt x="637309" y="3938043"/>
                </a:lnTo>
                <a:lnTo>
                  <a:pt x="617197" y="3919552"/>
                </a:lnTo>
                <a:lnTo>
                  <a:pt x="597347" y="3900783"/>
                </a:lnTo>
                <a:lnTo>
                  <a:pt x="577763" y="3881739"/>
                </a:lnTo>
                <a:lnTo>
                  <a:pt x="558447" y="3862423"/>
                </a:lnTo>
                <a:lnTo>
                  <a:pt x="539403" y="3842839"/>
                </a:lnTo>
                <a:lnTo>
                  <a:pt x="520634" y="3822989"/>
                </a:lnTo>
                <a:lnTo>
                  <a:pt x="502143" y="3802877"/>
                </a:lnTo>
                <a:lnTo>
                  <a:pt x="483932" y="3782505"/>
                </a:lnTo>
                <a:lnTo>
                  <a:pt x="466006" y="3761878"/>
                </a:lnTo>
                <a:lnTo>
                  <a:pt x="448367" y="3740996"/>
                </a:lnTo>
                <a:lnTo>
                  <a:pt x="431018" y="3719865"/>
                </a:lnTo>
                <a:lnTo>
                  <a:pt x="413962" y="3698487"/>
                </a:lnTo>
                <a:lnTo>
                  <a:pt x="397204" y="3676865"/>
                </a:lnTo>
                <a:lnTo>
                  <a:pt x="380744" y="3655003"/>
                </a:lnTo>
                <a:lnTo>
                  <a:pt x="364587" y="3632902"/>
                </a:lnTo>
                <a:lnTo>
                  <a:pt x="348735" y="3610567"/>
                </a:lnTo>
                <a:lnTo>
                  <a:pt x="333193" y="3588001"/>
                </a:lnTo>
                <a:lnTo>
                  <a:pt x="317962" y="3565206"/>
                </a:lnTo>
                <a:lnTo>
                  <a:pt x="303047" y="3542186"/>
                </a:lnTo>
                <a:lnTo>
                  <a:pt x="288450" y="3518943"/>
                </a:lnTo>
                <a:lnTo>
                  <a:pt x="274174" y="3495482"/>
                </a:lnTo>
                <a:lnTo>
                  <a:pt x="260221" y="3471805"/>
                </a:lnTo>
                <a:lnTo>
                  <a:pt x="246597" y="3447914"/>
                </a:lnTo>
                <a:lnTo>
                  <a:pt x="233302" y="3423814"/>
                </a:lnTo>
                <a:lnTo>
                  <a:pt x="220342" y="3399507"/>
                </a:lnTo>
                <a:lnTo>
                  <a:pt x="207718" y="3374996"/>
                </a:lnTo>
                <a:lnTo>
                  <a:pt x="195434" y="3350284"/>
                </a:lnTo>
                <a:lnTo>
                  <a:pt x="183492" y="3325376"/>
                </a:lnTo>
                <a:lnTo>
                  <a:pt x="171897" y="3300272"/>
                </a:lnTo>
                <a:lnTo>
                  <a:pt x="160650" y="3274978"/>
                </a:lnTo>
                <a:lnTo>
                  <a:pt x="149756" y="3249495"/>
                </a:lnTo>
                <a:lnTo>
                  <a:pt x="139216" y="3223827"/>
                </a:lnTo>
                <a:lnTo>
                  <a:pt x="129036" y="3197977"/>
                </a:lnTo>
                <a:lnTo>
                  <a:pt x="119216" y="3171948"/>
                </a:lnTo>
                <a:lnTo>
                  <a:pt x="109761" y="3145743"/>
                </a:lnTo>
                <a:lnTo>
                  <a:pt x="100673" y="3119366"/>
                </a:lnTo>
                <a:lnTo>
                  <a:pt x="91957" y="3092819"/>
                </a:lnTo>
                <a:lnTo>
                  <a:pt x="83614" y="3066105"/>
                </a:lnTo>
                <a:lnTo>
                  <a:pt x="75648" y="3039228"/>
                </a:lnTo>
                <a:lnTo>
                  <a:pt x="68061" y="3012191"/>
                </a:lnTo>
                <a:lnTo>
                  <a:pt x="60858" y="2984996"/>
                </a:lnTo>
                <a:lnTo>
                  <a:pt x="54040" y="2957647"/>
                </a:lnTo>
                <a:lnTo>
                  <a:pt x="47612" y="2930147"/>
                </a:lnTo>
                <a:lnTo>
                  <a:pt x="41577" y="2902499"/>
                </a:lnTo>
                <a:lnTo>
                  <a:pt x="35936" y="2874706"/>
                </a:lnTo>
                <a:lnTo>
                  <a:pt x="30694" y="2846771"/>
                </a:lnTo>
                <a:lnTo>
                  <a:pt x="25854" y="2818697"/>
                </a:lnTo>
                <a:lnTo>
                  <a:pt x="21419" y="2790489"/>
                </a:lnTo>
                <a:lnTo>
                  <a:pt x="17391" y="2762147"/>
                </a:lnTo>
                <a:lnTo>
                  <a:pt x="13774" y="2733675"/>
                </a:lnTo>
                <a:lnTo>
                  <a:pt x="10571" y="2705078"/>
                </a:lnTo>
                <a:lnTo>
                  <a:pt x="7785" y="2676357"/>
                </a:lnTo>
                <a:lnTo>
                  <a:pt x="5419" y="2647516"/>
                </a:lnTo>
                <a:lnTo>
                  <a:pt x="3476" y="2618558"/>
                </a:lnTo>
                <a:lnTo>
                  <a:pt x="1960" y="2589486"/>
                </a:lnTo>
                <a:lnTo>
                  <a:pt x="873" y="2560303"/>
                </a:lnTo>
                <a:lnTo>
                  <a:pt x="219" y="2531012"/>
                </a:lnTo>
                <a:lnTo>
                  <a:pt x="0" y="2501616"/>
                </a:lnTo>
                <a:close/>
              </a:path>
            </a:pathLst>
          </a:custGeom>
        </p:spPr>
        <p:txBody>
          <a:bodyPr wrap="square">
            <a:noAutofit/>
          </a:bodyPr>
          <a:lstStyle>
            <a:lvl1pPr marL="0" indent="0">
              <a:buNone/>
              <a:defRPr>
                <a:solidFill>
                  <a:schemeClr val="bg1"/>
                </a:solidFill>
              </a:defRPr>
            </a:lvl1pPr>
          </a:lstStyle>
          <a:p>
            <a:r>
              <a:rPr lang="en-US" noProof="0"/>
              <a:t>Click icon to add picture</a:t>
            </a:r>
            <a:endParaRPr lang="en-US" noProof="0" dirty="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388130" y="1925364"/>
            <a:ext cx="5613400" cy="1636730"/>
          </a:xfrm>
        </p:spPr>
        <p:txBody>
          <a:bodyPr vert="horz" anchor="t" anchorCtr="0">
            <a:spAutoFit/>
          </a:bodyPr>
          <a:lstStyle>
            <a:lvl1pPr>
              <a:lnSpc>
                <a:spcPct val="120000"/>
              </a:lnSpc>
              <a:defRPr sz="3000">
                <a:solidFill>
                  <a:schemeClr val="bg1"/>
                </a:solidFill>
              </a:defRPr>
            </a:lvl1pPr>
          </a:lstStyle>
          <a:p>
            <a:r>
              <a:rPr lang="en-US" noProof="0" dirty="0"/>
              <a:t>Quote lorem ipsum</a:t>
            </a:r>
            <a:br>
              <a:rPr lang="en-US" noProof="0" dirty="0"/>
            </a:br>
            <a:br>
              <a:rPr lang="en-US" noProof="0" dirty="0"/>
            </a:br>
            <a:endParaRPr lang="en-US" noProof="0" dirty="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80321" y="356533"/>
            <a:ext cx="1188648" cy="1273486"/>
          </a:xfrm>
          <a:prstGeom prst="rect">
            <a:avLst/>
          </a:prstGeom>
          <a:noFill/>
        </p:spPr>
        <p:txBody>
          <a:bodyPr wrap="square" lIns="0" tIns="0" rIns="0" bIns="0" rtlCol="0" anchor="t" anchorCtr="0">
            <a:noAutofit/>
          </a:bodyPr>
          <a:lstStyle/>
          <a:p>
            <a:r>
              <a:rPr lang="en-US" sz="16000" noProof="0" dirty="0">
                <a:solidFill>
                  <a:schemeClr val="bg1"/>
                </a:solidFill>
                <a:latin typeface="+mj-lt"/>
              </a:rPr>
              <a:t>”</a:t>
            </a:r>
          </a:p>
        </p:txBody>
      </p:sp>
      <p:grpSp>
        <p:nvGrpSpPr>
          <p:cNvPr id="14" name="object 8">
            <a:extLst>
              <a:ext uri="{FF2B5EF4-FFF2-40B4-BE49-F238E27FC236}">
                <a16:creationId xmlns:a16="http://schemas.microsoft.com/office/drawing/2014/main" id="{B39D7F6A-A6B6-798C-A424-8603966C6698}"/>
              </a:ext>
            </a:extLst>
          </p:cNvPr>
          <p:cNvGrpSpPr>
            <a:grpSpLocks noChangeAspect="1"/>
          </p:cNvGrpSpPr>
          <p:nvPr/>
        </p:nvGrpSpPr>
        <p:grpSpPr bwMode="gray">
          <a:xfrm>
            <a:off x="11523000" y="6201700"/>
            <a:ext cx="288000" cy="288000"/>
            <a:chOff x="18934851" y="10156759"/>
            <a:chExt cx="523875" cy="523875"/>
          </a:xfrm>
        </p:grpSpPr>
        <p:sp>
          <p:nvSpPr>
            <p:cNvPr id="15" name="object 9">
              <a:extLst>
                <a:ext uri="{FF2B5EF4-FFF2-40B4-BE49-F238E27FC236}">
                  <a16:creationId xmlns:a16="http://schemas.microsoft.com/office/drawing/2014/main" id="{510E9A11-EE0A-F303-7A3C-434F4EF4B3FA}"/>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16" name="object 10">
              <a:extLst>
                <a:ext uri="{FF2B5EF4-FFF2-40B4-BE49-F238E27FC236}">
                  <a16:creationId xmlns:a16="http://schemas.microsoft.com/office/drawing/2014/main" id="{D186C636-C14F-C3B8-C0D6-24C3F7FB5056}"/>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17" name="object 11">
              <a:extLst>
                <a:ext uri="{FF2B5EF4-FFF2-40B4-BE49-F238E27FC236}">
                  <a16:creationId xmlns:a16="http://schemas.microsoft.com/office/drawing/2014/main" id="{11EE4303-656A-2D9C-F100-FEFCEFA79B4D}"/>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5" name="Textplatzhalter 3">
            <a:extLst>
              <a:ext uri="{FF2B5EF4-FFF2-40B4-BE49-F238E27FC236}">
                <a16:creationId xmlns:a16="http://schemas.microsoft.com/office/drawing/2014/main" id="{06FF2DC0-43A9-01BB-1E47-AF975CB39908}"/>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endParaRPr lang="en-US" noProof="0" dirty="0"/>
          </a:p>
        </p:txBody>
      </p:sp>
      <p:sp>
        <p:nvSpPr>
          <p:cNvPr id="21" name="Textplatzhalter 17">
            <a:extLst>
              <a:ext uri="{FF2B5EF4-FFF2-40B4-BE49-F238E27FC236}">
                <a16:creationId xmlns:a16="http://schemas.microsoft.com/office/drawing/2014/main" id="{5576433D-85DF-50B4-F97B-0CE3B6864211}"/>
              </a:ext>
            </a:extLst>
          </p:cNvPr>
          <p:cNvSpPr>
            <a:spLocks noGrp="1"/>
          </p:cNvSpPr>
          <p:nvPr>
            <p:ph type="body" sz="quarter" idx="39" hasCustomPrompt="1"/>
          </p:nvPr>
        </p:nvSpPr>
        <p:spPr bwMode="gray">
          <a:xfrm>
            <a:off x="388130" y="3562094"/>
            <a:ext cx="5613400" cy="528810"/>
          </a:xfrm>
        </p:spPr>
        <p:txBody>
          <a:bodyPr tIns="360000" anchor="t" anchorCtr="0">
            <a:normAutofit/>
          </a:bodyPr>
          <a:lstStyle>
            <a:lvl1pPr marL="0" indent="0">
              <a:buNone/>
              <a:defRPr sz="1000">
                <a:solidFill>
                  <a:schemeClr val="bg1"/>
                </a:solidFill>
              </a:defRPr>
            </a:lvl1pPr>
          </a:lstStyle>
          <a:p>
            <a:pPr lvl="0"/>
            <a:r>
              <a:rPr lang="en-US" noProof="0"/>
              <a:t>First name, Position</a:t>
            </a:r>
            <a:endParaRPr lang="en-US" noProof="0" dirty="0"/>
          </a:p>
        </p:txBody>
      </p:sp>
      <p:sp>
        <p:nvSpPr>
          <p:cNvPr id="24" name="Slide Number Placeholder 23">
            <a:extLst>
              <a:ext uri="{FF2B5EF4-FFF2-40B4-BE49-F238E27FC236}">
                <a16:creationId xmlns:a16="http://schemas.microsoft.com/office/drawing/2014/main" id="{8185244A-1FBC-A6AF-EE8C-DAF00ABACFB6}"/>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dirty="0"/>
          </a:p>
        </p:txBody>
      </p:sp>
      <p:sp>
        <p:nvSpPr>
          <p:cNvPr id="6" name="Bildplatzhalter 19">
            <a:extLst>
              <a:ext uri="{FF2B5EF4-FFF2-40B4-BE49-F238E27FC236}">
                <a16:creationId xmlns:a16="http://schemas.microsoft.com/office/drawing/2014/main" id="{8A39FDF2-B4B7-5ABB-2D51-6BF444F2881C}"/>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Tree>
    <p:extLst>
      <p:ext uri="{BB962C8B-B14F-4D97-AF65-F5344CB8AC3E}">
        <p14:creationId xmlns:p14="http://schemas.microsoft.com/office/powerpoint/2010/main" val="363189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6DD037-76D7-BA1B-7CA9-13A5A9930FEF}"/>
              </a:ext>
            </a:extLst>
          </p:cNvPr>
          <p:cNvGraphicFramePr>
            <a:graphicFrameLocks noChangeAspect="1"/>
          </p:cNvGraphicFramePr>
          <p:nvPr>
            <p:custDataLst>
              <p:tags r:id="rId1"/>
            </p:custDataLst>
            <p:extLst>
              <p:ext uri="{D42A27DB-BD31-4B8C-83A1-F6EECF244321}">
                <p14:modId xmlns:p14="http://schemas.microsoft.com/office/powerpoint/2010/main" val="2962136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CC6DD037-76D7-BA1B-7CA9-13A5A9930F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a:xfrm>
            <a:off x="0" y="0"/>
            <a:ext cx="12192000" cy="5396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Bildplatzhalter 6">
            <a:extLst>
              <a:ext uri="{FF2B5EF4-FFF2-40B4-BE49-F238E27FC236}">
                <a16:creationId xmlns:a16="http://schemas.microsoft.com/office/drawing/2014/main" id="{7D9DD465-DA2D-D889-7408-6A0D3AB0FAAD}"/>
              </a:ext>
            </a:extLst>
          </p:cNvPr>
          <p:cNvSpPr>
            <a:spLocks noGrp="1"/>
          </p:cNvSpPr>
          <p:nvPr>
            <p:ph type="pic" sz="quarter" idx="11"/>
          </p:nvPr>
        </p:nvSpPr>
        <p:spPr>
          <a:xfrm>
            <a:off x="6953250" y="1528730"/>
            <a:ext cx="4858429" cy="4384708"/>
          </a:xfrm>
          <a:custGeom>
            <a:avLst/>
            <a:gdLst>
              <a:gd name="connsiteX0" fmla="*/ 0 w 4789647"/>
              <a:gd name="connsiteY0" fmla="*/ 0 h 4440186"/>
              <a:gd name="connsiteX1" fmla="*/ 4789647 w 4789647"/>
              <a:gd name="connsiteY1" fmla="*/ 0 h 4440186"/>
              <a:gd name="connsiteX2" fmla="*/ 4789647 w 4789647"/>
              <a:gd name="connsiteY2" fmla="*/ 4440186 h 4440186"/>
              <a:gd name="connsiteX3" fmla="*/ 1938570 w 4789647"/>
              <a:gd name="connsiteY3" fmla="*/ 4440186 h 4440186"/>
              <a:gd name="connsiteX4" fmla="*/ 1909174 w 4789647"/>
              <a:gd name="connsiteY4" fmla="*/ 4439968 h 4440186"/>
              <a:gd name="connsiteX5" fmla="*/ 1879884 w 4789647"/>
              <a:gd name="connsiteY5" fmla="*/ 4439313 h 4440186"/>
              <a:gd name="connsiteX6" fmla="*/ 1850700 w 4789647"/>
              <a:gd name="connsiteY6" fmla="*/ 4438226 h 4440186"/>
              <a:gd name="connsiteX7" fmla="*/ 1821628 w 4789647"/>
              <a:gd name="connsiteY7" fmla="*/ 4436710 h 4440186"/>
              <a:gd name="connsiteX8" fmla="*/ 1792670 w 4789647"/>
              <a:gd name="connsiteY8" fmla="*/ 4434767 h 4440186"/>
              <a:gd name="connsiteX9" fmla="*/ 1763829 w 4789647"/>
              <a:gd name="connsiteY9" fmla="*/ 4432402 h 4440186"/>
              <a:gd name="connsiteX10" fmla="*/ 1735108 w 4789647"/>
              <a:gd name="connsiteY10" fmla="*/ 4429616 h 4440186"/>
              <a:gd name="connsiteX11" fmla="*/ 1706510 w 4789647"/>
              <a:gd name="connsiteY11" fmla="*/ 4426413 h 4440186"/>
              <a:gd name="connsiteX12" fmla="*/ 1678040 w 4789647"/>
              <a:gd name="connsiteY12" fmla="*/ 4422796 h 4440186"/>
              <a:gd name="connsiteX13" fmla="*/ 1649698 w 4789647"/>
              <a:gd name="connsiteY13" fmla="*/ 4418768 h 4440186"/>
              <a:gd name="connsiteX14" fmla="*/ 1621488 w 4789647"/>
              <a:gd name="connsiteY14" fmla="*/ 4414332 h 4440186"/>
              <a:gd name="connsiteX15" fmla="*/ 1593415 w 4789647"/>
              <a:gd name="connsiteY15" fmla="*/ 4409492 h 4440186"/>
              <a:gd name="connsiteX16" fmla="*/ 1565480 w 4789647"/>
              <a:gd name="connsiteY16" fmla="*/ 4404250 h 4440186"/>
              <a:gd name="connsiteX17" fmla="*/ 1537687 w 4789647"/>
              <a:gd name="connsiteY17" fmla="*/ 4398610 h 4440186"/>
              <a:gd name="connsiteX18" fmla="*/ 1510039 w 4789647"/>
              <a:gd name="connsiteY18" fmla="*/ 4392574 h 4440186"/>
              <a:gd name="connsiteX19" fmla="*/ 1482539 w 4789647"/>
              <a:gd name="connsiteY19" fmla="*/ 4386146 h 4440186"/>
              <a:gd name="connsiteX20" fmla="*/ 1455190 w 4789647"/>
              <a:gd name="connsiteY20" fmla="*/ 4379329 h 4440186"/>
              <a:gd name="connsiteX21" fmla="*/ 1427995 w 4789647"/>
              <a:gd name="connsiteY21" fmla="*/ 4372125 h 4440186"/>
              <a:gd name="connsiteX22" fmla="*/ 1400958 w 4789647"/>
              <a:gd name="connsiteY22" fmla="*/ 4364539 h 4440186"/>
              <a:gd name="connsiteX23" fmla="*/ 1374080 w 4789647"/>
              <a:gd name="connsiteY23" fmla="*/ 4356572 h 4440186"/>
              <a:gd name="connsiteX24" fmla="*/ 1347367 w 4789647"/>
              <a:gd name="connsiteY24" fmla="*/ 4348230 h 4440186"/>
              <a:gd name="connsiteX25" fmla="*/ 1320820 w 4789647"/>
              <a:gd name="connsiteY25" fmla="*/ 4339513 h 4440186"/>
              <a:gd name="connsiteX26" fmla="*/ 1294442 w 4789647"/>
              <a:gd name="connsiteY26" fmla="*/ 4330425 h 4440186"/>
              <a:gd name="connsiteX27" fmla="*/ 1268238 w 4789647"/>
              <a:gd name="connsiteY27" fmla="*/ 4320970 h 4440186"/>
              <a:gd name="connsiteX28" fmla="*/ 1242209 w 4789647"/>
              <a:gd name="connsiteY28" fmla="*/ 4311151 h 4440186"/>
              <a:gd name="connsiteX29" fmla="*/ 1216359 w 4789647"/>
              <a:gd name="connsiteY29" fmla="*/ 4300970 h 4440186"/>
              <a:gd name="connsiteX30" fmla="*/ 1190691 w 4789647"/>
              <a:gd name="connsiteY30" fmla="*/ 4290430 h 4440186"/>
              <a:gd name="connsiteX31" fmla="*/ 1165209 w 4789647"/>
              <a:gd name="connsiteY31" fmla="*/ 4279536 h 4440186"/>
              <a:gd name="connsiteX32" fmla="*/ 1139914 w 4789647"/>
              <a:gd name="connsiteY32" fmla="*/ 4268290 h 4440186"/>
              <a:gd name="connsiteX33" fmla="*/ 1114810 w 4789647"/>
              <a:gd name="connsiteY33" fmla="*/ 4256694 h 4440186"/>
              <a:gd name="connsiteX34" fmla="*/ 1089902 w 4789647"/>
              <a:gd name="connsiteY34" fmla="*/ 4244753 h 4440186"/>
              <a:gd name="connsiteX35" fmla="*/ 1065191 w 4789647"/>
              <a:gd name="connsiteY35" fmla="*/ 4232468 h 4440186"/>
              <a:gd name="connsiteX36" fmla="*/ 1040680 w 4789647"/>
              <a:gd name="connsiteY36" fmla="*/ 4219844 h 4440186"/>
              <a:gd name="connsiteX37" fmla="*/ 1016373 w 4789647"/>
              <a:gd name="connsiteY37" fmla="*/ 4206884 h 4440186"/>
              <a:gd name="connsiteX38" fmla="*/ 992272 w 4789647"/>
              <a:gd name="connsiteY38" fmla="*/ 4193589 h 4440186"/>
              <a:gd name="connsiteX39" fmla="*/ 968382 w 4789647"/>
              <a:gd name="connsiteY39" fmla="*/ 4179965 h 4440186"/>
              <a:gd name="connsiteX40" fmla="*/ 944704 w 4789647"/>
              <a:gd name="connsiteY40" fmla="*/ 4166013 h 4440186"/>
              <a:gd name="connsiteX41" fmla="*/ 921243 w 4789647"/>
              <a:gd name="connsiteY41" fmla="*/ 4151736 h 4440186"/>
              <a:gd name="connsiteX42" fmla="*/ 898000 w 4789647"/>
              <a:gd name="connsiteY42" fmla="*/ 4137139 h 4440186"/>
              <a:gd name="connsiteX43" fmla="*/ 874980 w 4789647"/>
              <a:gd name="connsiteY43" fmla="*/ 4122224 h 4440186"/>
              <a:gd name="connsiteX44" fmla="*/ 852185 w 4789647"/>
              <a:gd name="connsiteY44" fmla="*/ 4106993 h 4440186"/>
              <a:gd name="connsiteX45" fmla="*/ 829619 w 4789647"/>
              <a:gd name="connsiteY45" fmla="*/ 4091451 h 4440186"/>
              <a:gd name="connsiteX46" fmla="*/ 807284 w 4789647"/>
              <a:gd name="connsiteY46" fmla="*/ 4075600 h 4440186"/>
              <a:gd name="connsiteX47" fmla="*/ 785183 w 4789647"/>
              <a:gd name="connsiteY47" fmla="*/ 4059442 h 4440186"/>
              <a:gd name="connsiteX48" fmla="*/ 763321 w 4789647"/>
              <a:gd name="connsiteY48" fmla="*/ 4042983 h 4440186"/>
              <a:gd name="connsiteX49" fmla="*/ 741699 w 4789647"/>
              <a:gd name="connsiteY49" fmla="*/ 4026224 h 4440186"/>
              <a:gd name="connsiteX50" fmla="*/ 720321 w 4789647"/>
              <a:gd name="connsiteY50" fmla="*/ 4009168 h 4440186"/>
              <a:gd name="connsiteX51" fmla="*/ 699190 w 4789647"/>
              <a:gd name="connsiteY51" fmla="*/ 3991819 h 4440186"/>
              <a:gd name="connsiteX52" fmla="*/ 678309 w 4789647"/>
              <a:gd name="connsiteY52" fmla="*/ 3974180 h 4440186"/>
              <a:gd name="connsiteX53" fmla="*/ 657681 w 4789647"/>
              <a:gd name="connsiteY53" fmla="*/ 3956254 h 4440186"/>
              <a:gd name="connsiteX54" fmla="*/ 637309 w 4789647"/>
              <a:gd name="connsiteY54" fmla="*/ 3938043 h 4440186"/>
              <a:gd name="connsiteX55" fmla="*/ 617197 w 4789647"/>
              <a:gd name="connsiteY55" fmla="*/ 3919552 h 4440186"/>
              <a:gd name="connsiteX56" fmla="*/ 597347 w 4789647"/>
              <a:gd name="connsiteY56" fmla="*/ 3900783 h 4440186"/>
              <a:gd name="connsiteX57" fmla="*/ 577763 w 4789647"/>
              <a:gd name="connsiteY57" fmla="*/ 3881739 h 4440186"/>
              <a:gd name="connsiteX58" fmla="*/ 558447 w 4789647"/>
              <a:gd name="connsiteY58" fmla="*/ 3862423 h 4440186"/>
              <a:gd name="connsiteX59" fmla="*/ 539403 w 4789647"/>
              <a:gd name="connsiteY59" fmla="*/ 3842839 h 4440186"/>
              <a:gd name="connsiteX60" fmla="*/ 520634 w 4789647"/>
              <a:gd name="connsiteY60" fmla="*/ 3822989 h 4440186"/>
              <a:gd name="connsiteX61" fmla="*/ 502143 w 4789647"/>
              <a:gd name="connsiteY61" fmla="*/ 3802877 h 4440186"/>
              <a:gd name="connsiteX62" fmla="*/ 483932 w 4789647"/>
              <a:gd name="connsiteY62" fmla="*/ 3782505 h 4440186"/>
              <a:gd name="connsiteX63" fmla="*/ 466006 w 4789647"/>
              <a:gd name="connsiteY63" fmla="*/ 3761878 h 4440186"/>
              <a:gd name="connsiteX64" fmla="*/ 448367 w 4789647"/>
              <a:gd name="connsiteY64" fmla="*/ 3740996 h 4440186"/>
              <a:gd name="connsiteX65" fmla="*/ 431018 w 4789647"/>
              <a:gd name="connsiteY65" fmla="*/ 3719865 h 4440186"/>
              <a:gd name="connsiteX66" fmla="*/ 413962 w 4789647"/>
              <a:gd name="connsiteY66" fmla="*/ 3698487 h 4440186"/>
              <a:gd name="connsiteX67" fmla="*/ 397204 w 4789647"/>
              <a:gd name="connsiteY67" fmla="*/ 3676865 h 4440186"/>
              <a:gd name="connsiteX68" fmla="*/ 380744 w 4789647"/>
              <a:gd name="connsiteY68" fmla="*/ 3655003 h 4440186"/>
              <a:gd name="connsiteX69" fmla="*/ 364587 w 4789647"/>
              <a:gd name="connsiteY69" fmla="*/ 3632902 h 4440186"/>
              <a:gd name="connsiteX70" fmla="*/ 348735 w 4789647"/>
              <a:gd name="connsiteY70" fmla="*/ 3610567 h 4440186"/>
              <a:gd name="connsiteX71" fmla="*/ 333193 w 4789647"/>
              <a:gd name="connsiteY71" fmla="*/ 3588001 h 4440186"/>
              <a:gd name="connsiteX72" fmla="*/ 317962 w 4789647"/>
              <a:gd name="connsiteY72" fmla="*/ 3565206 h 4440186"/>
              <a:gd name="connsiteX73" fmla="*/ 303047 w 4789647"/>
              <a:gd name="connsiteY73" fmla="*/ 3542186 h 4440186"/>
              <a:gd name="connsiteX74" fmla="*/ 288450 w 4789647"/>
              <a:gd name="connsiteY74" fmla="*/ 3518943 h 4440186"/>
              <a:gd name="connsiteX75" fmla="*/ 274174 w 4789647"/>
              <a:gd name="connsiteY75" fmla="*/ 3495482 h 4440186"/>
              <a:gd name="connsiteX76" fmla="*/ 260221 w 4789647"/>
              <a:gd name="connsiteY76" fmla="*/ 3471805 h 4440186"/>
              <a:gd name="connsiteX77" fmla="*/ 246597 w 4789647"/>
              <a:gd name="connsiteY77" fmla="*/ 3447914 h 4440186"/>
              <a:gd name="connsiteX78" fmla="*/ 233302 w 4789647"/>
              <a:gd name="connsiteY78" fmla="*/ 3423814 h 4440186"/>
              <a:gd name="connsiteX79" fmla="*/ 220342 w 4789647"/>
              <a:gd name="connsiteY79" fmla="*/ 3399507 h 4440186"/>
              <a:gd name="connsiteX80" fmla="*/ 207718 w 4789647"/>
              <a:gd name="connsiteY80" fmla="*/ 3374996 h 4440186"/>
              <a:gd name="connsiteX81" fmla="*/ 195434 w 4789647"/>
              <a:gd name="connsiteY81" fmla="*/ 3350284 h 4440186"/>
              <a:gd name="connsiteX82" fmla="*/ 183492 w 4789647"/>
              <a:gd name="connsiteY82" fmla="*/ 3325376 h 4440186"/>
              <a:gd name="connsiteX83" fmla="*/ 171897 w 4789647"/>
              <a:gd name="connsiteY83" fmla="*/ 3300272 h 4440186"/>
              <a:gd name="connsiteX84" fmla="*/ 160650 w 4789647"/>
              <a:gd name="connsiteY84" fmla="*/ 3274978 h 4440186"/>
              <a:gd name="connsiteX85" fmla="*/ 149756 w 4789647"/>
              <a:gd name="connsiteY85" fmla="*/ 3249495 h 4440186"/>
              <a:gd name="connsiteX86" fmla="*/ 139216 w 4789647"/>
              <a:gd name="connsiteY86" fmla="*/ 3223827 h 4440186"/>
              <a:gd name="connsiteX87" fmla="*/ 129036 w 4789647"/>
              <a:gd name="connsiteY87" fmla="*/ 3197977 h 4440186"/>
              <a:gd name="connsiteX88" fmla="*/ 119216 w 4789647"/>
              <a:gd name="connsiteY88" fmla="*/ 3171948 h 4440186"/>
              <a:gd name="connsiteX89" fmla="*/ 109761 w 4789647"/>
              <a:gd name="connsiteY89" fmla="*/ 3145743 h 4440186"/>
              <a:gd name="connsiteX90" fmla="*/ 100673 w 4789647"/>
              <a:gd name="connsiteY90" fmla="*/ 3119366 h 4440186"/>
              <a:gd name="connsiteX91" fmla="*/ 91957 w 4789647"/>
              <a:gd name="connsiteY91" fmla="*/ 3092819 h 4440186"/>
              <a:gd name="connsiteX92" fmla="*/ 83614 w 4789647"/>
              <a:gd name="connsiteY92" fmla="*/ 3066105 h 4440186"/>
              <a:gd name="connsiteX93" fmla="*/ 75648 w 4789647"/>
              <a:gd name="connsiteY93" fmla="*/ 3039228 h 4440186"/>
              <a:gd name="connsiteX94" fmla="*/ 68061 w 4789647"/>
              <a:gd name="connsiteY94" fmla="*/ 3012191 h 4440186"/>
              <a:gd name="connsiteX95" fmla="*/ 60858 w 4789647"/>
              <a:gd name="connsiteY95" fmla="*/ 2984996 h 4440186"/>
              <a:gd name="connsiteX96" fmla="*/ 54040 w 4789647"/>
              <a:gd name="connsiteY96" fmla="*/ 2957647 h 4440186"/>
              <a:gd name="connsiteX97" fmla="*/ 47612 w 4789647"/>
              <a:gd name="connsiteY97" fmla="*/ 2930147 h 4440186"/>
              <a:gd name="connsiteX98" fmla="*/ 41577 w 4789647"/>
              <a:gd name="connsiteY98" fmla="*/ 2902499 h 4440186"/>
              <a:gd name="connsiteX99" fmla="*/ 35936 w 4789647"/>
              <a:gd name="connsiteY99" fmla="*/ 2874706 h 4440186"/>
              <a:gd name="connsiteX100" fmla="*/ 30694 w 4789647"/>
              <a:gd name="connsiteY100" fmla="*/ 2846771 h 4440186"/>
              <a:gd name="connsiteX101" fmla="*/ 25854 w 4789647"/>
              <a:gd name="connsiteY101" fmla="*/ 2818697 h 4440186"/>
              <a:gd name="connsiteX102" fmla="*/ 21419 w 4789647"/>
              <a:gd name="connsiteY102" fmla="*/ 2790489 h 4440186"/>
              <a:gd name="connsiteX103" fmla="*/ 17391 w 4789647"/>
              <a:gd name="connsiteY103" fmla="*/ 2762147 h 4440186"/>
              <a:gd name="connsiteX104" fmla="*/ 13774 w 4789647"/>
              <a:gd name="connsiteY104" fmla="*/ 2733675 h 4440186"/>
              <a:gd name="connsiteX105" fmla="*/ 10571 w 4789647"/>
              <a:gd name="connsiteY105" fmla="*/ 2705078 h 4440186"/>
              <a:gd name="connsiteX106" fmla="*/ 7785 w 4789647"/>
              <a:gd name="connsiteY106" fmla="*/ 2676357 h 4440186"/>
              <a:gd name="connsiteX107" fmla="*/ 5419 w 4789647"/>
              <a:gd name="connsiteY107" fmla="*/ 2647516 h 4440186"/>
              <a:gd name="connsiteX108" fmla="*/ 3476 w 4789647"/>
              <a:gd name="connsiteY108" fmla="*/ 2618558 h 4440186"/>
              <a:gd name="connsiteX109" fmla="*/ 1960 w 4789647"/>
              <a:gd name="connsiteY109" fmla="*/ 2589486 h 4440186"/>
              <a:gd name="connsiteX110" fmla="*/ 873 w 4789647"/>
              <a:gd name="connsiteY110" fmla="*/ 2560303 h 4440186"/>
              <a:gd name="connsiteX111" fmla="*/ 219 w 4789647"/>
              <a:gd name="connsiteY111" fmla="*/ 2531012 h 4440186"/>
              <a:gd name="connsiteX112" fmla="*/ 0 w 4789647"/>
              <a:gd name="connsiteY112" fmla="*/ 2501616 h 44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789647" h="4440186">
                <a:moveTo>
                  <a:pt x="0" y="0"/>
                </a:moveTo>
                <a:lnTo>
                  <a:pt x="4789647" y="0"/>
                </a:lnTo>
                <a:lnTo>
                  <a:pt x="4789647" y="4440186"/>
                </a:lnTo>
                <a:lnTo>
                  <a:pt x="1938570" y="4440186"/>
                </a:lnTo>
                <a:lnTo>
                  <a:pt x="1909174" y="4439968"/>
                </a:lnTo>
                <a:lnTo>
                  <a:pt x="1879884" y="4439313"/>
                </a:lnTo>
                <a:lnTo>
                  <a:pt x="1850700" y="4438226"/>
                </a:lnTo>
                <a:lnTo>
                  <a:pt x="1821628" y="4436710"/>
                </a:lnTo>
                <a:lnTo>
                  <a:pt x="1792670" y="4434767"/>
                </a:lnTo>
                <a:lnTo>
                  <a:pt x="1763829" y="4432402"/>
                </a:lnTo>
                <a:lnTo>
                  <a:pt x="1735108" y="4429616"/>
                </a:lnTo>
                <a:lnTo>
                  <a:pt x="1706510" y="4426413"/>
                </a:lnTo>
                <a:lnTo>
                  <a:pt x="1678040" y="4422796"/>
                </a:lnTo>
                <a:lnTo>
                  <a:pt x="1649698" y="4418768"/>
                </a:lnTo>
                <a:lnTo>
                  <a:pt x="1621488" y="4414332"/>
                </a:lnTo>
                <a:lnTo>
                  <a:pt x="1593415" y="4409492"/>
                </a:lnTo>
                <a:lnTo>
                  <a:pt x="1565480" y="4404250"/>
                </a:lnTo>
                <a:lnTo>
                  <a:pt x="1537687" y="4398610"/>
                </a:lnTo>
                <a:lnTo>
                  <a:pt x="1510039" y="4392574"/>
                </a:lnTo>
                <a:lnTo>
                  <a:pt x="1482539" y="4386146"/>
                </a:lnTo>
                <a:lnTo>
                  <a:pt x="1455190" y="4379329"/>
                </a:lnTo>
                <a:lnTo>
                  <a:pt x="1427995" y="4372125"/>
                </a:lnTo>
                <a:lnTo>
                  <a:pt x="1400958" y="4364539"/>
                </a:lnTo>
                <a:lnTo>
                  <a:pt x="1374080" y="4356572"/>
                </a:lnTo>
                <a:lnTo>
                  <a:pt x="1347367" y="4348230"/>
                </a:lnTo>
                <a:lnTo>
                  <a:pt x="1320820" y="4339513"/>
                </a:lnTo>
                <a:lnTo>
                  <a:pt x="1294442" y="4330425"/>
                </a:lnTo>
                <a:lnTo>
                  <a:pt x="1268238" y="4320970"/>
                </a:lnTo>
                <a:lnTo>
                  <a:pt x="1242209" y="4311151"/>
                </a:lnTo>
                <a:lnTo>
                  <a:pt x="1216359" y="4300970"/>
                </a:lnTo>
                <a:lnTo>
                  <a:pt x="1190691" y="4290430"/>
                </a:lnTo>
                <a:lnTo>
                  <a:pt x="1165209" y="4279536"/>
                </a:lnTo>
                <a:lnTo>
                  <a:pt x="1139914" y="4268290"/>
                </a:lnTo>
                <a:lnTo>
                  <a:pt x="1114810" y="4256694"/>
                </a:lnTo>
                <a:lnTo>
                  <a:pt x="1089902" y="4244753"/>
                </a:lnTo>
                <a:lnTo>
                  <a:pt x="1065191" y="4232468"/>
                </a:lnTo>
                <a:lnTo>
                  <a:pt x="1040680" y="4219844"/>
                </a:lnTo>
                <a:lnTo>
                  <a:pt x="1016373" y="4206884"/>
                </a:lnTo>
                <a:lnTo>
                  <a:pt x="992272" y="4193589"/>
                </a:lnTo>
                <a:lnTo>
                  <a:pt x="968382" y="4179965"/>
                </a:lnTo>
                <a:lnTo>
                  <a:pt x="944704" y="4166013"/>
                </a:lnTo>
                <a:lnTo>
                  <a:pt x="921243" y="4151736"/>
                </a:lnTo>
                <a:lnTo>
                  <a:pt x="898000" y="4137139"/>
                </a:lnTo>
                <a:lnTo>
                  <a:pt x="874980" y="4122224"/>
                </a:lnTo>
                <a:lnTo>
                  <a:pt x="852185" y="4106993"/>
                </a:lnTo>
                <a:lnTo>
                  <a:pt x="829619" y="4091451"/>
                </a:lnTo>
                <a:lnTo>
                  <a:pt x="807284" y="4075600"/>
                </a:lnTo>
                <a:lnTo>
                  <a:pt x="785183" y="4059442"/>
                </a:lnTo>
                <a:lnTo>
                  <a:pt x="763321" y="4042983"/>
                </a:lnTo>
                <a:lnTo>
                  <a:pt x="741699" y="4026224"/>
                </a:lnTo>
                <a:lnTo>
                  <a:pt x="720321" y="4009168"/>
                </a:lnTo>
                <a:lnTo>
                  <a:pt x="699190" y="3991819"/>
                </a:lnTo>
                <a:lnTo>
                  <a:pt x="678309" y="3974180"/>
                </a:lnTo>
                <a:lnTo>
                  <a:pt x="657681" y="3956254"/>
                </a:lnTo>
                <a:lnTo>
                  <a:pt x="637309" y="3938043"/>
                </a:lnTo>
                <a:lnTo>
                  <a:pt x="617197" y="3919552"/>
                </a:lnTo>
                <a:lnTo>
                  <a:pt x="597347" y="3900783"/>
                </a:lnTo>
                <a:lnTo>
                  <a:pt x="577763" y="3881739"/>
                </a:lnTo>
                <a:lnTo>
                  <a:pt x="558447" y="3862423"/>
                </a:lnTo>
                <a:lnTo>
                  <a:pt x="539403" y="3842839"/>
                </a:lnTo>
                <a:lnTo>
                  <a:pt x="520634" y="3822989"/>
                </a:lnTo>
                <a:lnTo>
                  <a:pt x="502143" y="3802877"/>
                </a:lnTo>
                <a:lnTo>
                  <a:pt x="483932" y="3782505"/>
                </a:lnTo>
                <a:lnTo>
                  <a:pt x="466006" y="3761878"/>
                </a:lnTo>
                <a:lnTo>
                  <a:pt x="448367" y="3740996"/>
                </a:lnTo>
                <a:lnTo>
                  <a:pt x="431018" y="3719865"/>
                </a:lnTo>
                <a:lnTo>
                  <a:pt x="413962" y="3698487"/>
                </a:lnTo>
                <a:lnTo>
                  <a:pt x="397204" y="3676865"/>
                </a:lnTo>
                <a:lnTo>
                  <a:pt x="380744" y="3655003"/>
                </a:lnTo>
                <a:lnTo>
                  <a:pt x="364587" y="3632902"/>
                </a:lnTo>
                <a:lnTo>
                  <a:pt x="348735" y="3610567"/>
                </a:lnTo>
                <a:lnTo>
                  <a:pt x="333193" y="3588001"/>
                </a:lnTo>
                <a:lnTo>
                  <a:pt x="317962" y="3565206"/>
                </a:lnTo>
                <a:lnTo>
                  <a:pt x="303047" y="3542186"/>
                </a:lnTo>
                <a:lnTo>
                  <a:pt x="288450" y="3518943"/>
                </a:lnTo>
                <a:lnTo>
                  <a:pt x="274174" y="3495482"/>
                </a:lnTo>
                <a:lnTo>
                  <a:pt x="260221" y="3471805"/>
                </a:lnTo>
                <a:lnTo>
                  <a:pt x="246597" y="3447914"/>
                </a:lnTo>
                <a:lnTo>
                  <a:pt x="233302" y="3423814"/>
                </a:lnTo>
                <a:lnTo>
                  <a:pt x="220342" y="3399507"/>
                </a:lnTo>
                <a:lnTo>
                  <a:pt x="207718" y="3374996"/>
                </a:lnTo>
                <a:lnTo>
                  <a:pt x="195434" y="3350284"/>
                </a:lnTo>
                <a:lnTo>
                  <a:pt x="183492" y="3325376"/>
                </a:lnTo>
                <a:lnTo>
                  <a:pt x="171897" y="3300272"/>
                </a:lnTo>
                <a:lnTo>
                  <a:pt x="160650" y="3274978"/>
                </a:lnTo>
                <a:lnTo>
                  <a:pt x="149756" y="3249495"/>
                </a:lnTo>
                <a:lnTo>
                  <a:pt x="139216" y="3223827"/>
                </a:lnTo>
                <a:lnTo>
                  <a:pt x="129036" y="3197977"/>
                </a:lnTo>
                <a:lnTo>
                  <a:pt x="119216" y="3171948"/>
                </a:lnTo>
                <a:lnTo>
                  <a:pt x="109761" y="3145743"/>
                </a:lnTo>
                <a:lnTo>
                  <a:pt x="100673" y="3119366"/>
                </a:lnTo>
                <a:lnTo>
                  <a:pt x="91957" y="3092819"/>
                </a:lnTo>
                <a:lnTo>
                  <a:pt x="83614" y="3066105"/>
                </a:lnTo>
                <a:lnTo>
                  <a:pt x="75648" y="3039228"/>
                </a:lnTo>
                <a:lnTo>
                  <a:pt x="68061" y="3012191"/>
                </a:lnTo>
                <a:lnTo>
                  <a:pt x="60858" y="2984996"/>
                </a:lnTo>
                <a:lnTo>
                  <a:pt x="54040" y="2957647"/>
                </a:lnTo>
                <a:lnTo>
                  <a:pt x="47612" y="2930147"/>
                </a:lnTo>
                <a:lnTo>
                  <a:pt x="41577" y="2902499"/>
                </a:lnTo>
                <a:lnTo>
                  <a:pt x="35936" y="2874706"/>
                </a:lnTo>
                <a:lnTo>
                  <a:pt x="30694" y="2846771"/>
                </a:lnTo>
                <a:lnTo>
                  <a:pt x="25854" y="2818697"/>
                </a:lnTo>
                <a:lnTo>
                  <a:pt x="21419" y="2790489"/>
                </a:lnTo>
                <a:lnTo>
                  <a:pt x="17391" y="2762147"/>
                </a:lnTo>
                <a:lnTo>
                  <a:pt x="13774" y="2733675"/>
                </a:lnTo>
                <a:lnTo>
                  <a:pt x="10571" y="2705078"/>
                </a:lnTo>
                <a:lnTo>
                  <a:pt x="7785" y="2676357"/>
                </a:lnTo>
                <a:lnTo>
                  <a:pt x="5419" y="2647516"/>
                </a:lnTo>
                <a:lnTo>
                  <a:pt x="3476" y="2618558"/>
                </a:lnTo>
                <a:lnTo>
                  <a:pt x="1960" y="2589486"/>
                </a:lnTo>
                <a:lnTo>
                  <a:pt x="873" y="2560303"/>
                </a:lnTo>
                <a:lnTo>
                  <a:pt x="219" y="2531012"/>
                </a:lnTo>
                <a:lnTo>
                  <a:pt x="0" y="2501616"/>
                </a:lnTo>
                <a:close/>
              </a:path>
            </a:pathLst>
          </a:custGeom>
        </p:spPr>
        <p:txBody>
          <a:bodyPr wrap="square">
            <a:noAutofit/>
          </a:bodyPr>
          <a:lstStyle>
            <a:lvl1pPr marL="0" indent="0">
              <a:buNone/>
              <a:defRPr/>
            </a:lvl1pPr>
          </a:lstStyle>
          <a:p>
            <a:r>
              <a:rPr lang="en-US" noProof="0"/>
              <a:t>Click icon to add picture</a:t>
            </a:r>
            <a:endParaRPr lang="en-US" noProof="0" dirty="0"/>
          </a:p>
        </p:txBody>
      </p:sp>
      <p:sp>
        <p:nvSpPr>
          <p:cNvPr id="13" name="Textfeld 12">
            <a:extLst>
              <a:ext uri="{FF2B5EF4-FFF2-40B4-BE49-F238E27FC236}">
                <a16:creationId xmlns:a16="http://schemas.microsoft.com/office/drawing/2014/main" id="{328D7683-162E-7913-135E-4F841CB805CD}"/>
              </a:ext>
            </a:extLst>
          </p:cNvPr>
          <p:cNvSpPr txBox="1"/>
          <p:nvPr/>
        </p:nvSpPr>
        <p:spPr>
          <a:xfrm>
            <a:off x="380321" y="356533"/>
            <a:ext cx="1188648" cy="1273486"/>
          </a:xfrm>
          <a:prstGeom prst="rect">
            <a:avLst/>
          </a:prstGeom>
          <a:noFill/>
        </p:spPr>
        <p:txBody>
          <a:bodyPr wrap="square" lIns="0" tIns="0" rIns="0" bIns="0" rtlCol="0" anchor="t" anchorCtr="0">
            <a:noAutofit/>
          </a:bodyPr>
          <a:lstStyle/>
          <a:p>
            <a:r>
              <a:rPr lang="en-US" sz="16000" noProof="0">
                <a:solidFill>
                  <a:schemeClr val="tx2"/>
                </a:solidFill>
                <a:latin typeface="+mj-lt"/>
              </a:rPr>
              <a:t>”</a:t>
            </a:r>
            <a:endParaRPr lang="en-US" sz="16000" noProof="0" dirty="0">
              <a:solidFill>
                <a:schemeClr val="tx2"/>
              </a:solidFill>
              <a:latin typeface="+mj-lt"/>
            </a:endParaRPr>
          </a:p>
        </p:txBody>
      </p:sp>
      <p:pic>
        <p:nvPicPr>
          <p:cNvPr id="22" name="Grafik 6">
            <a:extLst>
              <a:ext uri="{FF2B5EF4-FFF2-40B4-BE49-F238E27FC236}">
                <a16:creationId xmlns:a16="http://schemas.microsoft.com/office/drawing/2014/main" id="{3968FDED-7E8C-02F5-5853-4B0345D2FF2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1523000" y="6201700"/>
            <a:ext cx="288000" cy="288000"/>
          </a:xfrm>
          <a:prstGeom prst="rect">
            <a:avLst/>
          </a:prstGeom>
        </p:spPr>
      </p:pic>
      <p:sp>
        <p:nvSpPr>
          <p:cNvPr id="4" name="Textplatzhalter 3">
            <a:extLst>
              <a:ext uri="{FF2B5EF4-FFF2-40B4-BE49-F238E27FC236}">
                <a16:creationId xmlns:a16="http://schemas.microsoft.com/office/drawing/2014/main" id="{D212922A-EF6F-2597-1827-4FC6633BE89F}"/>
              </a:ext>
            </a:extLst>
          </p:cNvPr>
          <p:cNvSpPr>
            <a:spLocks noGrp="1"/>
          </p:cNvSpPr>
          <p:nvPr>
            <p:ph type="body" sz="quarter" idx="14" hasCustomPrompt="1"/>
          </p:nvPr>
        </p:nvSpPr>
        <p:spPr>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endParaRPr lang="en-US" noProof="0" dirty="0"/>
          </a:p>
        </p:txBody>
      </p:sp>
      <p:sp>
        <p:nvSpPr>
          <p:cNvPr id="16" name="Titel 11">
            <a:extLst>
              <a:ext uri="{FF2B5EF4-FFF2-40B4-BE49-F238E27FC236}">
                <a16:creationId xmlns:a16="http://schemas.microsoft.com/office/drawing/2014/main" id="{4F15C2F9-46FD-C9E3-6EF4-096A7B7EBEFF}"/>
              </a:ext>
            </a:extLst>
          </p:cNvPr>
          <p:cNvSpPr>
            <a:spLocks noGrp="1"/>
          </p:cNvSpPr>
          <p:nvPr>
            <p:ph type="title" hasCustomPrompt="1"/>
          </p:nvPr>
        </p:nvSpPr>
        <p:spPr>
          <a:xfrm>
            <a:off x="385200" y="1922374"/>
            <a:ext cx="5613400" cy="1636730"/>
          </a:xfrm>
        </p:spPr>
        <p:txBody>
          <a:bodyPr vert="horz" anchor="t" anchorCtr="0">
            <a:spAutoFit/>
          </a:bodyPr>
          <a:lstStyle>
            <a:lvl1pPr>
              <a:lnSpc>
                <a:spcPct val="120000"/>
              </a:lnSpc>
              <a:defRPr sz="3000">
                <a:solidFill>
                  <a:schemeClr val="tx2"/>
                </a:solidFill>
              </a:defRPr>
            </a:lvl1pPr>
          </a:lstStyle>
          <a:p>
            <a:r>
              <a:rPr lang="en-US" noProof="0" dirty="0"/>
              <a:t>Quote lorem ipsum</a:t>
            </a:r>
            <a:br>
              <a:rPr lang="en-US" noProof="0" dirty="0"/>
            </a:br>
            <a:br>
              <a:rPr lang="en-US" noProof="0" dirty="0"/>
            </a:br>
            <a:endParaRPr lang="en-US" noProof="0" dirty="0"/>
          </a:p>
        </p:txBody>
      </p:sp>
      <p:sp>
        <p:nvSpPr>
          <p:cNvPr id="20" name="Textplatzhalter 17">
            <a:extLst>
              <a:ext uri="{FF2B5EF4-FFF2-40B4-BE49-F238E27FC236}">
                <a16:creationId xmlns:a16="http://schemas.microsoft.com/office/drawing/2014/main" id="{FE503730-C14A-0841-7DAB-2525D610D8B8}"/>
              </a:ext>
            </a:extLst>
          </p:cNvPr>
          <p:cNvSpPr>
            <a:spLocks noGrp="1"/>
          </p:cNvSpPr>
          <p:nvPr>
            <p:ph type="body" sz="quarter" idx="39" hasCustomPrompt="1"/>
          </p:nvPr>
        </p:nvSpPr>
        <p:spPr>
          <a:xfrm>
            <a:off x="382588" y="3559104"/>
            <a:ext cx="5613400" cy="528810"/>
          </a:xfrm>
        </p:spPr>
        <p:txBody>
          <a:bodyPr tIns="360000" anchor="t" anchorCtr="0">
            <a:normAutofit/>
          </a:bodyPr>
          <a:lstStyle>
            <a:lvl1pPr marL="0" indent="0">
              <a:buNone/>
              <a:defRPr sz="1000">
                <a:solidFill>
                  <a:schemeClr val="tx2"/>
                </a:solidFill>
              </a:defRPr>
            </a:lvl1pPr>
          </a:lstStyle>
          <a:p>
            <a:pPr lvl="0"/>
            <a:r>
              <a:rPr lang="en-US" noProof="0" dirty="0"/>
              <a:t>First name, Position</a:t>
            </a:r>
          </a:p>
        </p:txBody>
      </p:sp>
      <p:sp>
        <p:nvSpPr>
          <p:cNvPr id="25" name="Slide Number Placeholder 24">
            <a:extLst>
              <a:ext uri="{FF2B5EF4-FFF2-40B4-BE49-F238E27FC236}">
                <a16:creationId xmlns:a16="http://schemas.microsoft.com/office/drawing/2014/main" id="{D1F1F3A2-7B0C-3A1E-1013-99D1288752D7}"/>
              </a:ext>
            </a:extLst>
          </p:cNvPr>
          <p:cNvSpPr>
            <a:spLocks noGrp="1"/>
          </p:cNvSpPr>
          <p:nvPr>
            <p:ph type="sldNum" sz="quarter" idx="42"/>
          </p:nvPr>
        </p:nvSpPr>
        <p:spPr/>
        <p:txBody>
          <a:bodyPr/>
          <a:lstStyle/>
          <a:p>
            <a:fld id="{A115CDC9-74CB-4F6C-8CD3-A6C89F254EE7}" type="slidenum">
              <a:rPr lang="en-US" noProof="0" smtClean="0"/>
              <a:pPr/>
              <a:t>‹#›</a:t>
            </a:fld>
            <a:endParaRPr lang="en-US" noProof="0" dirty="0"/>
          </a:p>
        </p:txBody>
      </p:sp>
    </p:spTree>
    <p:extLst>
      <p:ext uri="{BB962C8B-B14F-4D97-AF65-F5344CB8AC3E}">
        <p14:creationId xmlns:p14="http://schemas.microsoft.com/office/powerpoint/2010/main" val="696595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BB493D2E-A430-07D7-4C0C-FE863668FFF6}"/>
              </a:ext>
            </a:extLst>
          </p:cNvPr>
          <p:cNvSpPr>
            <a:spLocks noGrp="1"/>
          </p:cNvSpPr>
          <p:nvPr>
            <p:ph type="pic" sz="quarter" idx="36" hasCustomPrompt="1"/>
          </p:nvPr>
        </p:nvSpPr>
        <p:spPr>
          <a:xfrm>
            <a:off x="0" y="-11017"/>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13" name="Text Placeholder 12">
            <a:extLst>
              <a:ext uri="{FF2B5EF4-FFF2-40B4-BE49-F238E27FC236}">
                <a16:creationId xmlns:a16="http://schemas.microsoft.com/office/drawing/2014/main" id="{B11A0B99-7CE0-5560-A4B9-FCD50E14B969}"/>
              </a:ext>
            </a:extLst>
          </p:cNvPr>
          <p:cNvSpPr>
            <a:spLocks noGrp="1" noChangeAspect="1"/>
          </p:cNvSpPr>
          <p:nvPr>
            <p:ph type="body" sz="quarter" idx="38"/>
          </p:nvPr>
        </p:nvSpPr>
        <p:spPr>
          <a:xfrm>
            <a:off x="6091072" y="3049940"/>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a:t>Click to edit Master text styles</a:t>
            </a:r>
          </a:p>
        </p:txBody>
      </p:sp>
      <p:sp>
        <p:nvSpPr>
          <p:cNvPr id="11" name="Text Placeholder 10">
            <a:extLst>
              <a:ext uri="{FF2B5EF4-FFF2-40B4-BE49-F238E27FC236}">
                <a16:creationId xmlns:a16="http://schemas.microsoft.com/office/drawing/2014/main" id="{7ED86478-AFD3-DDEF-2EDB-8D876D424EB2}"/>
              </a:ext>
            </a:extLst>
          </p:cNvPr>
          <p:cNvSpPr>
            <a:spLocks noGrp="1"/>
          </p:cNvSpPr>
          <p:nvPr>
            <p:ph type="body" sz="quarter" idx="37"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graphicFrame>
        <p:nvGraphicFramePr>
          <p:cNvPr id="3" name="Object 2" hidden="1">
            <a:extLst>
              <a:ext uri="{FF2B5EF4-FFF2-40B4-BE49-F238E27FC236}">
                <a16:creationId xmlns:a16="http://schemas.microsoft.com/office/drawing/2014/main" id="{C3150A11-41CD-9D00-B3CF-B7A18A0ADAD3}"/>
              </a:ext>
            </a:extLst>
          </p:cNvPr>
          <p:cNvGraphicFramePr>
            <a:graphicFrameLocks noChangeAspect="1"/>
          </p:cNvGraphicFramePr>
          <p:nvPr>
            <p:custDataLst>
              <p:tags r:id="rId1"/>
            </p:custDataLst>
            <p:extLst>
              <p:ext uri="{D42A27DB-BD31-4B8C-83A1-F6EECF244321}">
                <p14:modId xmlns:p14="http://schemas.microsoft.com/office/powerpoint/2010/main" val="30049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3" name="Object 2" hidden="1">
                        <a:extLst>
                          <a:ext uri="{FF2B5EF4-FFF2-40B4-BE49-F238E27FC236}">
                            <a16:creationId xmlns:a16="http://schemas.microsoft.com/office/drawing/2014/main" id="{C3150A11-41CD-9D00-B3CF-B7A18A0ADA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9" name="Datumsplatzhalter 58">
            <a:extLst>
              <a:ext uri="{FF2B5EF4-FFF2-40B4-BE49-F238E27FC236}">
                <a16:creationId xmlns:a16="http://schemas.microsoft.com/office/drawing/2014/main" id="{476C2453-25F2-3AC3-DA16-43039B26A11A}"/>
              </a:ext>
            </a:extLst>
          </p:cNvPr>
          <p:cNvSpPr>
            <a:spLocks noGrp="1"/>
          </p:cNvSpPr>
          <p:nvPr>
            <p:ph type="dt" sz="half" idx="10"/>
          </p:nvPr>
        </p:nvSpPr>
        <p:spPr bwMode="gray">
          <a:xfrm>
            <a:off x="1666016" y="4341166"/>
            <a:ext cx="5322957" cy="295466"/>
          </a:xfrm>
          <a:prstGeom prst="rect">
            <a:avLst/>
          </a:prstGeom>
        </p:spPr>
        <p:txBody>
          <a:bodyPr>
            <a:spAutoFit/>
          </a:bodyPr>
          <a:lstStyle>
            <a:lvl1pPr>
              <a:defRPr sz="1200">
                <a:solidFill>
                  <a:schemeClr val="bg1"/>
                </a:solidFill>
              </a:defRPr>
            </a:lvl1pPr>
          </a:lstStyle>
          <a:p>
            <a:r>
              <a:rPr lang="en-US" noProof="0"/>
              <a:t>01.23.2023</a:t>
            </a:r>
            <a:endParaRPr lang="en-US" noProof="0" dirty="0"/>
          </a:p>
        </p:txBody>
      </p:sp>
      <p:sp>
        <p:nvSpPr>
          <p:cNvPr id="60" name="Fußzeilenplatzhalter 59">
            <a:extLst>
              <a:ext uri="{FF2B5EF4-FFF2-40B4-BE49-F238E27FC236}">
                <a16:creationId xmlns:a16="http://schemas.microsoft.com/office/drawing/2014/main" id="{5478043B-0235-3707-F01E-E07D22B98BAA}"/>
              </a:ext>
            </a:extLst>
          </p:cNvPr>
          <p:cNvSpPr>
            <a:spLocks noGrp="1"/>
          </p:cNvSpPr>
          <p:nvPr>
            <p:ph type="ftr" sz="quarter" idx="11"/>
          </p:nvPr>
        </p:nvSpPr>
        <p:spPr bwMode="gray">
          <a:xfrm>
            <a:off x="1666016" y="3983600"/>
            <a:ext cx="5322957"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
        <p:nvSpPr>
          <p:cNvPr id="65" name="Textfeld 64">
            <a:extLst>
              <a:ext uri="{FF2B5EF4-FFF2-40B4-BE49-F238E27FC236}">
                <a16:creationId xmlns:a16="http://schemas.microsoft.com/office/drawing/2014/main" id="{A6A875DC-6707-9BE3-0EFB-142B3C254312}"/>
              </a:ext>
            </a:extLst>
          </p:cNvPr>
          <p:cNvSpPr txBox="1"/>
          <p:nvPr/>
        </p:nvSpPr>
        <p:spPr bwMode="gray">
          <a:xfrm>
            <a:off x="388615" y="6377271"/>
            <a:ext cx="1293822" cy="123111"/>
          </a:xfrm>
          <a:prstGeom prst="rect">
            <a:avLst/>
          </a:prstGeom>
          <a:noFill/>
        </p:spPr>
        <p:txBody>
          <a:bodyPr wrap="square" lIns="0" tIns="0" rIns="0" bIns="0" rtlCol="0">
            <a:spAutoFit/>
          </a:bodyPr>
          <a:lstStyle/>
          <a:p>
            <a:r>
              <a:rPr lang="en-US" sz="800" noProof="0">
                <a:solidFill>
                  <a:schemeClr val="bg1"/>
                </a:solidFill>
                <a:latin typeface="+mj-lt"/>
              </a:rPr>
              <a:t>Heidelberg Materials</a:t>
            </a:r>
            <a:endParaRPr lang="en-US" sz="800" noProof="0" dirty="0">
              <a:solidFill>
                <a:schemeClr val="bg1"/>
              </a:solidFill>
              <a:latin typeface="+mj-lt"/>
            </a:endParaRPr>
          </a:p>
        </p:txBody>
      </p:sp>
      <p:sp>
        <p:nvSpPr>
          <p:cNvPr id="2" name="Titel 57">
            <a:extLst>
              <a:ext uri="{FF2B5EF4-FFF2-40B4-BE49-F238E27FC236}">
                <a16:creationId xmlns:a16="http://schemas.microsoft.com/office/drawing/2014/main" id="{DFDB1623-80CC-3E4C-4375-0FFD5EE3DAE0}"/>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dirty="0"/>
              <a:t>Presentation title</a:t>
            </a:r>
          </a:p>
        </p:txBody>
      </p:sp>
      <p:sp>
        <p:nvSpPr>
          <p:cNvPr id="9" name="Text Placeholder 9">
            <a:extLst>
              <a:ext uri="{FF2B5EF4-FFF2-40B4-BE49-F238E27FC236}">
                <a16:creationId xmlns:a16="http://schemas.microsoft.com/office/drawing/2014/main" id="{F242258C-4892-5543-4CC5-38EAC0AFD848}"/>
              </a:ext>
            </a:extLst>
          </p:cNvPr>
          <p:cNvSpPr>
            <a:spLocks noGrp="1"/>
          </p:cNvSpPr>
          <p:nvPr>
            <p:ph type="body" sz="quarter" idx="19" hasCustomPrompt="1"/>
          </p:nvPr>
        </p:nvSpPr>
        <p:spPr>
          <a:xfrm>
            <a:off x="11295111" y="5981426"/>
            <a:ext cx="508274" cy="508274"/>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dirty="0"/>
              <a:t> </a:t>
            </a:r>
            <a:endParaRPr lang="en-US" dirty="0"/>
          </a:p>
        </p:txBody>
      </p:sp>
      <p:sp>
        <p:nvSpPr>
          <p:cNvPr id="12" name="Textfeld 8">
            <a:extLst>
              <a:ext uri="{FF2B5EF4-FFF2-40B4-BE49-F238E27FC236}">
                <a16:creationId xmlns:a16="http://schemas.microsoft.com/office/drawing/2014/main" id="{A1274F96-4C6C-4959-AE97-10F6D43254B7}"/>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4" name="Textfeld 8">
            <a:extLst>
              <a:ext uri="{FF2B5EF4-FFF2-40B4-BE49-F238E27FC236}">
                <a16:creationId xmlns:a16="http://schemas.microsoft.com/office/drawing/2014/main" id="{8AA2E53C-1B24-4B94-BB0B-6383B2C4CA00}"/>
              </a:ext>
            </a:extLst>
          </p:cNvPr>
          <p:cNvSpPr txBox="1"/>
          <p:nvPr userDrawn="1"/>
        </p:nvSpPr>
        <p:spPr>
          <a:xfrm>
            <a:off x="2472508"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solidFill>
                <a:latin typeface="+mn-lt"/>
                <a:ea typeface="+mn-ea"/>
                <a:cs typeface="Calibri Light" panose="020F0302020204030204" pitchFamily="34" charset="0"/>
              </a:rPr>
              <a:t>mm.dd.yyyy</a:t>
            </a:r>
            <a:endParaRPr lang="en-US" sz="800" kern="1200" noProof="0" dirty="0">
              <a:solidFill>
                <a:schemeClr val="tx1"/>
              </a:solidFill>
              <a:latin typeface="+mn-lt"/>
              <a:ea typeface="+mn-ea"/>
              <a:cs typeface="Calibri Light" panose="020F0302020204030204" pitchFamily="34" charset="0"/>
            </a:endParaRPr>
          </a:p>
        </p:txBody>
      </p:sp>
      <p:pic>
        <p:nvPicPr>
          <p:cNvPr id="15" name="Graphic 14">
            <a:extLst>
              <a:ext uri="{FF2B5EF4-FFF2-40B4-BE49-F238E27FC236}">
                <a16:creationId xmlns:a16="http://schemas.microsoft.com/office/drawing/2014/main" id="{4BB2AA73-C05A-42D9-A0D5-F22E2DD020E3}"/>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515" y="6410506"/>
            <a:ext cx="1062384" cy="103228"/>
          </a:xfrm>
          <a:prstGeom prst="rect">
            <a:avLst/>
          </a:prstGeom>
        </p:spPr>
      </p:pic>
    </p:spTree>
    <p:extLst>
      <p:ext uri="{BB962C8B-B14F-4D97-AF65-F5344CB8AC3E}">
        <p14:creationId xmlns:p14="http://schemas.microsoft.com/office/powerpoint/2010/main" val="7240954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026CF3-BCE9-9472-A4B9-B1D382CA9F10}"/>
              </a:ext>
            </a:extLst>
          </p:cNvPr>
          <p:cNvGraphicFramePr>
            <a:graphicFrameLocks noChangeAspect="1"/>
          </p:cNvGraphicFramePr>
          <p:nvPr>
            <p:custDataLst>
              <p:tags r:id="rId1"/>
            </p:custDataLst>
            <p:extLst>
              <p:ext uri="{D42A27DB-BD31-4B8C-83A1-F6EECF244321}">
                <p14:modId xmlns:p14="http://schemas.microsoft.com/office/powerpoint/2010/main" val="2300713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8B026CF3-BCE9-9472-A4B9-B1D382CA9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36730"/>
          </a:xfrm>
        </p:spPr>
        <p:txBody>
          <a:bodyPr vert="horz" anchor="t" anchorCtr="0">
            <a:spAutoFit/>
          </a:bodyPr>
          <a:lstStyle>
            <a:lvl1pPr>
              <a:lnSpc>
                <a:spcPct val="120000"/>
              </a:lnSpc>
              <a:defRPr sz="3000">
                <a:solidFill>
                  <a:schemeClr val="tx2"/>
                </a:solidFill>
              </a:defRPr>
            </a:lvl1pPr>
          </a:lstStyle>
          <a:p>
            <a:r>
              <a:rPr lang="en-US" noProof="0" dirty="0"/>
              <a:t>Quote lorem ipsum</a:t>
            </a:r>
            <a:br>
              <a:rPr lang="en-US" noProof="0" dirty="0"/>
            </a:br>
            <a:br>
              <a:rPr lang="en-US" noProof="0" dirty="0"/>
            </a:br>
            <a:endParaRPr lang="en-US" noProof="0" dirty="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noProof="0">
                <a:solidFill>
                  <a:schemeClr val="tx2"/>
                </a:solidFill>
                <a:latin typeface="+mj-lt"/>
              </a:rPr>
              <a:t>”</a:t>
            </a:r>
            <a:endParaRPr lang="en-US" sz="16000" noProof="0" dirty="0">
              <a:solidFill>
                <a:schemeClr val="tx2"/>
              </a:solidFill>
              <a:latin typeface="+mj-lt"/>
            </a:endParaRPr>
          </a:p>
        </p:txBody>
      </p:sp>
      <p:pic>
        <p:nvPicPr>
          <p:cNvPr id="3" name="Grafik 2">
            <a:extLst>
              <a:ext uri="{FF2B5EF4-FFF2-40B4-BE49-F238E27FC236}">
                <a16:creationId xmlns:a16="http://schemas.microsoft.com/office/drawing/2014/main" id="{A6D96BAA-FDE4-28FE-7AEF-3F56BB4CD00C}"/>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gray">
          <a:xfrm>
            <a:off x="11523000" y="6201700"/>
            <a:ext cx="288000" cy="288000"/>
          </a:xfrm>
          <a:prstGeom prst="rect">
            <a:avLst/>
          </a:prstGeom>
        </p:spPr>
      </p:pic>
      <p:sp>
        <p:nvSpPr>
          <p:cNvPr id="6" name="Textplatzhalter 3">
            <a:extLst>
              <a:ext uri="{FF2B5EF4-FFF2-40B4-BE49-F238E27FC236}">
                <a16:creationId xmlns:a16="http://schemas.microsoft.com/office/drawing/2014/main" id="{2C0747A9-A3E7-96FB-E929-23904A9EEA4E}"/>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endParaRPr lang="en-US" noProof="0" dirty="0"/>
          </a:p>
        </p:txBody>
      </p:sp>
      <p:sp>
        <p:nvSpPr>
          <p:cNvPr id="20" name="Slide Number Placeholder 19">
            <a:extLst>
              <a:ext uri="{FF2B5EF4-FFF2-40B4-BE49-F238E27FC236}">
                <a16:creationId xmlns:a16="http://schemas.microsoft.com/office/drawing/2014/main" id="{CDB59002-1255-6078-3309-DFB1C7120D2D}"/>
              </a:ext>
            </a:extLst>
          </p:cNvPr>
          <p:cNvSpPr>
            <a:spLocks noGrp="1"/>
          </p:cNvSpPr>
          <p:nvPr>
            <p:ph type="sldNum" sz="quarter" idx="40"/>
          </p:nvPr>
        </p:nvSpPr>
        <p:spPr bwMode="gray"/>
        <p:txBody>
          <a:bodyPr/>
          <a:lstStyle/>
          <a:p>
            <a:fld id="{A115CDC9-74CB-4F6C-8CD3-A6C89F254EE7}" type="slidenum">
              <a:rPr lang="en-US" noProof="0" smtClean="0"/>
              <a:pPr/>
              <a:t>‹#›</a:t>
            </a:fld>
            <a:endParaRPr lang="en-US" noProof="0" dirty="0"/>
          </a:p>
        </p:txBody>
      </p:sp>
      <p:sp>
        <p:nvSpPr>
          <p:cNvPr id="21" name="Textplatzhalter 17">
            <a:extLst>
              <a:ext uri="{FF2B5EF4-FFF2-40B4-BE49-F238E27FC236}">
                <a16:creationId xmlns:a16="http://schemas.microsoft.com/office/drawing/2014/main" id="{62E704E2-AB68-4955-E1C7-316B83D5A5B8}"/>
              </a:ext>
            </a:extLst>
          </p:cNvPr>
          <p:cNvSpPr>
            <a:spLocks noGrp="1"/>
          </p:cNvSpPr>
          <p:nvPr>
            <p:ph type="body" sz="quarter" idx="39" hasCustomPrompt="1"/>
          </p:nvPr>
        </p:nvSpPr>
        <p:spPr bwMode="gray">
          <a:xfrm>
            <a:off x="4260850" y="3568509"/>
            <a:ext cx="7550150" cy="528810"/>
          </a:xfrm>
        </p:spPr>
        <p:txBody>
          <a:bodyPr tIns="360000" anchor="t" anchorCtr="0">
            <a:normAutofit/>
          </a:bodyPr>
          <a:lstStyle>
            <a:lvl1pPr marL="0" indent="0">
              <a:buNone/>
              <a:defRPr sz="1000">
                <a:solidFill>
                  <a:schemeClr val="tx2"/>
                </a:solidFill>
              </a:defRPr>
            </a:lvl1pPr>
          </a:lstStyle>
          <a:p>
            <a:pPr lvl="0"/>
            <a:r>
              <a:rPr lang="en-US" noProof="0" dirty="0"/>
              <a:t>First name, Position</a:t>
            </a:r>
          </a:p>
        </p:txBody>
      </p:sp>
      <p:sp>
        <p:nvSpPr>
          <p:cNvPr id="9" name="Bildplatzhalter 19">
            <a:extLst>
              <a:ext uri="{FF2B5EF4-FFF2-40B4-BE49-F238E27FC236}">
                <a16:creationId xmlns:a16="http://schemas.microsoft.com/office/drawing/2014/main" id="{F39A7CF6-4924-A210-E3DB-07D6509E83AA}"/>
              </a:ext>
            </a:extLst>
          </p:cNvPr>
          <p:cNvSpPr>
            <a:spLocks noGrp="1"/>
          </p:cNvSpPr>
          <p:nvPr>
            <p:ph type="pic" sz="quarter" idx="22" hasCustomPrompt="1"/>
          </p:nvPr>
        </p:nvSpPr>
        <p:spPr bwMode="gray">
          <a:xfrm>
            <a:off x="1025514" y="6410506"/>
            <a:ext cx="1062384" cy="103295"/>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14" name="Textfeld 8">
            <a:extLst>
              <a:ext uri="{FF2B5EF4-FFF2-40B4-BE49-F238E27FC236}">
                <a16:creationId xmlns:a16="http://schemas.microsoft.com/office/drawing/2014/main" id="{3FE9D300-11AE-4EF3-9E05-573230952389}"/>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5" name="Textfeld 8">
            <a:extLst>
              <a:ext uri="{FF2B5EF4-FFF2-40B4-BE49-F238E27FC236}">
                <a16:creationId xmlns:a16="http://schemas.microsoft.com/office/drawing/2014/main" id="{79EB391B-85F9-4EB0-BE2D-4E74D914DBED}"/>
              </a:ext>
            </a:extLst>
          </p:cNvPr>
          <p:cNvSpPr txBox="1"/>
          <p:nvPr userDrawn="1"/>
        </p:nvSpPr>
        <p:spPr>
          <a:xfrm>
            <a:off x="2472508" y="6391656"/>
            <a:ext cx="831600" cy="110048"/>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mm.dd.yyyy</a:t>
            </a:r>
          </a:p>
        </p:txBody>
      </p:sp>
    </p:spTree>
    <p:extLst>
      <p:ext uri="{BB962C8B-B14F-4D97-AF65-F5344CB8AC3E}">
        <p14:creationId xmlns:p14="http://schemas.microsoft.com/office/powerpoint/2010/main" val="23625050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9BE747-69D4-BE40-4798-C5250BE5FA9E}"/>
              </a:ext>
            </a:extLst>
          </p:cNvPr>
          <p:cNvGraphicFramePr>
            <a:graphicFrameLocks noChangeAspect="1"/>
          </p:cNvGraphicFramePr>
          <p:nvPr>
            <p:custDataLst>
              <p:tags r:id="rId1"/>
            </p:custDataLst>
            <p:extLst>
              <p:ext uri="{D42A27DB-BD31-4B8C-83A1-F6EECF244321}">
                <p14:modId xmlns:p14="http://schemas.microsoft.com/office/powerpoint/2010/main" val="43120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D39BE747-69D4-BE40-4798-C5250BE5F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36730"/>
          </a:xfrm>
        </p:spPr>
        <p:txBody>
          <a:bodyPr vert="horz" wrap="square" anchor="t" anchorCtr="0">
            <a:spAutoFit/>
          </a:bodyPr>
          <a:lstStyle>
            <a:lvl1pPr>
              <a:lnSpc>
                <a:spcPct val="120000"/>
              </a:lnSpc>
              <a:defRPr sz="3000">
                <a:solidFill>
                  <a:schemeClr val="bg1"/>
                </a:solidFill>
              </a:defRPr>
            </a:lvl1pPr>
          </a:lstStyle>
          <a:p>
            <a:r>
              <a:rPr lang="en-US" noProof="0" dirty="0"/>
              <a:t>Quote lorem ipsum</a:t>
            </a:r>
            <a:br>
              <a:rPr lang="en-US" noProof="0" dirty="0"/>
            </a:br>
            <a:br>
              <a:rPr lang="en-US" noProof="0" dirty="0"/>
            </a:br>
            <a:endParaRPr lang="en-US" noProof="0" dirty="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noProof="0">
                <a:solidFill>
                  <a:schemeClr val="bg1"/>
                </a:solidFill>
                <a:latin typeface="+mj-lt"/>
              </a:rPr>
              <a:t>”</a:t>
            </a:r>
            <a:endParaRPr lang="en-US" sz="16000" noProof="0" dirty="0">
              <a:solidFill>
                <a:schemeClr val="bg1"/>
              </a:solidFill>
              <a:latin typeface="+mj-lt"/>
            </a:endParaRPr>
          </a:p>
        </p:txBody>
      </p:sp>
      <p:grpSp>
        <p:nvGrpSpPr>
          <p:cNvPr id="7" name="object 8">
            <a:extLst>
              <a:ext uri="{FF2B5EF4-FFF2-40B4-BE49-F238E27FC236}">
                <a16:creationId xmlns:a16="http://schemas.microsoft.com/office/drawing/2014/main" id="{BA33DC19-F39D-9A71-68F5-5C370C2AD846}"/>
              </a:ext>
            </a:extLst>
          </p:cNvPr>
          <p:cNvGrpSpPr/>
          <p:nvPr/>
        </p:nvGrpSpPr>
        <p:grpSpPr bwMode="gray">
          <a:xfrm>
            <a:off x="11523000" y="6201700"/>
            <a:ext cx="288000" cy="288000"/>
            <a:chOff x="18934851" y="10156759"/>
            <a:chExt cx="523875" cy="523875"/>
          </a:xfrm>
        </p:grpSpPr>
        <p:sp>
          <p:nvSpPr>
            <p:cNvPr id="11" name="object 9">
              <a:extLst>
                <a:ext uri="{FF2B5EF4-FFF2-40B4-BE49-F238E27FC236}">
                  <a16:creationId xmlns:a16="http://schemas.microsoft.com/office/drawing/2014/main" id="{801BE55F-9606-31E1-7763-7FEB8EC6F23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14" name="object 10">
              <a:extLst>
                <a:ext uri="{FF2B5EF4-FFF2-40B4-BE49-F238E27FC236}">
                  <a16:creationId xmlns:a16="http://schemas.microsoft.com/office/drawing/2014/main" id="{AC519FB5-1AEA-E042-F41C-04E9DA964A5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15" name="object 11">
              <a:extLst>
                <a:ext uri="{FF2B5EF4-FFF2-40B4-BE49-F238E27FC236}">
                  <a16:creationId xmlns:a16="http://schemas.microsoft.com/office/drawing/2014/main" id="{0DAF7A71-5B8A-32B5-28AC-258011C3E65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3" name="Textplatzhalter 3">
            <a:extLst>
              <a:ext uri="{FF2B5EF4-FFF2-40B4-BE49-F238E27FC236}">
                <a16:creationId xmlns:a16="http://schemas.microsoft.com/office/drawing/2014/main" id="{D8971AA6-A8A8-C7C8-5EBF-D2786C0E8144}"/>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endParaRPr lang="en-US" noProof="0" dirty="0"/>
          </a:p>
        </p:txBody>
      </p:sp>
      <p:sp>
        <p:nvSpPr>
          <p:cNvPr id="23" name="Slide Number Placeholder 22">
            <a:extLst>
              <a:ext uri="{FF2B5EF4-FFF2-40B4-BE49-F238E27FC236}">
                <a16:creationId xmlns:a16="http://schemas.microsoft.com/office/drawing/2014/main" id="{925C5F23-020F-D532-B9D0-18F02789CEFE}"/>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dirty="0"/>
          </a:p>
        </p:txBody>
      </p:sp>
      <p:sp>
        <p:nvSpPr>
          <p:cNvPr id="24" name="Textplatzhalter 17">
            <a:extLst>
              <a:ext uri="{FF2B5EF4-FFF2-40B4-BE49-F238E27FC236}">
                <a16:creationId xmlns:a16="http://schemas.microsoft.com/office/drawing/2014/main" id="{3021DC27-EA68-F613-3DE7-12EBDA2A8DD9}"/>
              </a:ext>
            </a:extLst>
          </p:cNvPr>
          <p:cNvSpPr>
            <a:spLocks noGrp="1"/>
          </p:cNvSpPr>
          <p:nvPr>
            <p:ph type="body" sz="quarter" idx="39" hasCustomPrompt="1"/>
          </p:nvPr>
        </p:nvSpPr>
        <p:spPr bwMode="gray">
          <a:xfrm>
            <a:off x="4260850" y="3568509"/>
            <a:ext cx="7550150" cy="528810"/>
          </a:xfrm>
        </p:spPr>
        <p:txBody>
          <a:bodyPr tIns="360000" anchor="t" anchorCtr="0">
            <a:normAutofit/>
          </a:bodyPr>
          <a:lstStyle>
            <a:lvl1pPr marL="0" indent="0">
              <a:buNone/>
              <a:defRPr sz="1000">
                <a:solidFill>
                  <a:schemeClr val="bg1"/>
                </a:solidFill>
              </a:defRPr>
            </a:lvl1pPr>
          </a:lstStyle>
          <a:p>
            <a:pPr lvl="0"/>
            <a:r>
              <a:rPr lang="en-US" noProof="0" dirty="0"/>
              <a:t>First name, Position</a:t>
            </a:r>
          </a:p>
        </p:txBody>
      </p:sp>
      <p:sp>
        <p:nvSpPr>
          <p:cNvPr id="4" name="Bildplatzhalter 19">
            <a:extLst>
              <a:ext uri="{FF2B5EF4-FFF2-40B4-BE49-F238E27FC236}">
                <a16:creationId xmlns:a16="http://schemas.microsoft.com/office/drawing/2014/main" id="{93CD882A-7E5D-97E5-A907-6DDBD4E14E8A}"/>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16" name="Textfeld 8">
            <a:extLst>
              <a:ext uri="{FF2B5EF4-FFF2-40B4-BE49-F238E27FC236}">
                <a16:creationId xmlns:a16="http://schemas.microsoft.com/office/drawing/2014/main" id="{34C02ABD-DA8F-4C33-BAE2-6E04F7BA1A0B}"/>
              </a:ext>
            </a:extLst>
          </p:cNvPr>
          <p:cNvSpPr txBox="1"/>
          <p:nvPr userDrawn="1"/>
        </p:nvSpPr>
        <p:spPr>
          <a:xfrm>
            <a:off x="3466593" y="6372120"/>
            <a:ext cx="5400000" cy="180000"/>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lumMod val="20000"/>
                    <a:lumOff val="80000"/>
                  </a:schemeClr>
                </a:solidFill>
                <a:latin typeface="+mn-lt"/>
                <a:ea typeface="+mn-ea"/>
                <a:cs typeface="Calibri Light" panose="020F0302020204030204" pitchFamily="34" charset="0"/>
              </a:rPr>
              <a:t>Event | Location | Topic | Author</a:t>
            </a:r>
          </a:p>
        </p:txBody>
      </p:sp>
      <p:sp>
        <p:nvSpPr>
          <p:cNvPr id="17" name="Textfeld 8">
            <a:extLst>
              <a:ext uri="{FF2B5EF4-FFF2-40B4-BE49-F238E27FC236}">
                <a16:creationId xmlns:a16="http://schemas.microsoft.com/office/drawing/2014/main" id="{5F11110D-66F6-45DA-A2DD-987EB186909D}"/>
              </a:ext>
            </a:extLst>
          </p:cNvPr>
          <p:cNvSpPr txBox="1"/>
          <p:nvPr userDrawn="1"/>
        </p:nvSpPr>
        <p:spPr>
          <a:xfrm>
            <a:off x="2472508" y="6383574"/>
            <a:ext cx="831600" cy="157091"/>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lumMod val="20000"/>
                    <a:lumOff val="80000"/>
                  </a:schemeClr>
                </a:solidFill>
                <a:latin typeface="+mn-lt"/>
                <a:ea typeface="+mn-ea"/>
                <a:cs typeface="Calibri Light" panose="020F0302020204030204" pitchFamily="34" charset="0"/>
              </a:rPr>
              <a:t>mm.dd.yyyy</a:t>
            </a:r>
          </a:p>
        </p:txBody>
      </p:sp>
    </p:spTree>
    <p:extLst>
      <p:ext uri="{BB962C8B-B14F-4D97-AF65-F5344CB8AC3E}">
        <p14:creationId xmlns:p14="http://schemas.microsoft.com/office/powerpoint/2010/main" val="3093745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a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E19A07-746D-2D9B-F855-5F2CC71A9E1C}"/>
              </a:ext>
            </a:extLst>
          </p:cNvPr>
          <p:cNvGraphicFramePr>
            <a:graphicFrameLocks noChangeAspect="1"/>
          </p:cNvGraphicFramePr>
          <p:nvPr>
            <p:custDataLst>
              <p:tags r:id="rId1"/>
            </p:custDataLst>
            <p:extLst>
              <p:ext uri="{D42A27DB-BD31-4B8C-83A1-F6EECF244321}">
                <p14:modId xmlns:p14="http://schemas.microsoft.com/office/powerpoint/2010/main" val="64994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09E19A07-746D-2D9B-F855-5F2CC71A9E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99DE7B15-DCA0-0D30-8D96-FAF6090C900D}"/>
              </a:ext>
            </a:extLst>
          </p:cNvPr>
          <p:cNvSpPr>
            <a:spLocks noGrp="1"/>
          </p:cNvSpPr>
          <p:nvPr>
            <p:ph type="pic" sz="quarter" idx="18" hasCustomPrompt="1"/>
          </p:nvPr>
        </p:nvSpPr>
        <p:spPr>
          <a:xfrm>
            <a:off x="8127840"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23" name="Bildplatzhalter 22">
            <a:extLst>
              <a:ext uri="{FF2B5EF4-FFF2-40B4-BE49-F238E27FC236}">
                <a16:creationId xmlns:a16="http://schemas.microsoft.com/office/drawing/2014/main" id="{07E3C596-F18A-15FD-66E2-11E5DDC3B11A}"/>
              </a:ext>
            </a:extLst>
          </p:cNvPr>
          <p:cNvSpPr>
            <a:spLocks noGrp="1"/>
          </p:cNvSpPr>
          <p:nvPr>
            <p:ph type="pic" sz="quarter" idx="17" hasCustomPrompt="1"/>
          </p:nvPr>
        </p:nvSpPr>
        <p:spPr>
          <a:xfrm>
            <a:off x="8127840"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22" name="Bildplatzhalter 21">
            <a:extLst>
              <a:ext uri="{FF2B5EF4-FFF2-40B4-BE49-F238E27FC236}">
                <a16:creationId xmlns:a16="http://schemas.microsoft.com/office/drawing/2014/main" id="{C691EA09-7E71-6539-AE94-7852DAE061DF}"/>
              </a:ext>
            </a:extLst>
          </p:cNvPr>
          <p:cNvSpPr>
            <a:spLocks noGrp="1"/>
          </p:cNvSpPr>
          <p:nvPr>
            <p:ph type="pic" sz="quarter" idx="16" hasCustomPrompt="1"/>
          </p:nvPr>
        </p:nvSpPr>
        <p:spPr>
          <a:xfrm>
            <a:off x="4254645"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21" name="Bildplatzhalter 20">
            <a:extLst>
              <a:ext uri="{FF2B5EF4-FFF2-40B4-BE49-F238E27FC236}">
                <a16:creationId xmlns:a16="http://schemas.microsoft.com/office/drawing/2014/main" id="{646274DF-2607-6E42-93B0-BEE397BD9AB6}"/>
              </a:ext>
            </a:extLst>
          </p:cNvPr>
          <p:cNvSpPr>
            <a:spLocks noGrp="1"/>
          </p:cNvSpPr>
          <p:nvPr>
            <p:ph type="pic" sz="quarter" idx="15" hasCustomPrompt="1"/>
          </p:nvPr>
        </p:nvSpPr>
        <p:spPr>
          <a:xfrm>
            <a:off x="4254646"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20" name="Bildplatzhalter 19">
            <a:extLst>
              <a:ext uri="{FF2B5EF4-FFF2-40B4-BE49-F238E27FC236}">
                <a16:creationId xmlns:a16="http://schemas.microsoft.com/office/drawing/2014/main" id="{B57DAD3D-CF90-52DF-FFF3-4E16D67B88E5}"/>
              </a:ext>
            </a:extLst>
          </p:cNvPr>
          <p:cNvSpPr>
            <a:spLocks noGrp="1"/>
          </p:cNvSpPr>
          <p:nvPr>
            <p:ph type="pic" sz="quarter" idx="14" hasCustomPrompt="1"/>
          </p:nvPr>
        </p:nvSpPr>
        <p:spPr>
          <a:xfrm>
            <a:off x="381451"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19" name="Bildplatzhalter 18">
            <a:extLst>
              <a:ext uri="{FF2B5EF4-FFF2-40B4-BE49-F238E27FC236}">
                <a16:creationId xmlns:a16="http://schemas.microsoft.com/office/drawing/2014/main" id="{ED1F137F-0BFA-343F-110B-26AD4466202A}"/>
              </a:ext>
            </a:extLst>
          </p:cNvPr>
          <p:cNvSpPr>
            <a:spLocks noGrp="1"/>
          </p:cNvSpPr>
          <p:nvPr>
            <p:ph type="pic" sz="quarter" idx="13" hasCustomPrompt="1"/>
          </p:nvPr>
        </p:nvSpPr>
        <p:spPr>
          <a:xfrm>
            <a:off x="381452"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p:spPr>
        <p:txBody>
          <a:bodyPr wrap="square">
            <a:noAutofit/>
          </a:bodyPr>
          <a:lstStyle>
            <a:lvl1pPr>
              <a:defRPr/>
            </a:lvl1pPr>
          </a:lstStyle>
          <a:p>
            <a:r>
              <a:rPr lang="en-GB" noProof="0" dirty="0"/>
              <a:t> </a:t>
            </a:r>
          </a:p>
        </p:txBody>
      </p:sp>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p>
            <a:r>
              <a:rPr lang="en-US" noProof="0" dirty="0"/>
              <a:t>Slide heading</a:t>
            </a:r>
          </a:p>
        </p:txBody>
      </p:sp>
      <p:sp>
        <p:nvSpPr>
          <p:cNvPr id="9" name="Textplatzhalter 8">
            <a:extLst>
              <a:ext uri="{FF2B5EF4-FFF2-40B4-BE49-F238E27FC236}">
                <a16:creationId xmlns:a16="http://schemas.microsoft.com/office/drawing/2014/main" id="{43D7D8B9-97D3-2F7B-572E-D823B4E09664}"/>
              </a:ext>
            </a:extLst>
          </p:cNvPr>
          <p:cNvSpPr>
            <a:spLocks noGrp="1"/>
          </p:cNvSpPr>
          <p:nvPr>
            <p:ph type="body" sz="quarter" idx="23" hasCustomPrompt="1"/>
          </p:nvPr>
        </p:nvSpPr>
        <p:spPr>
          <a:xfrm>
            <a:off x="5997415" y="1573213"/>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11" name="Textplatzhalter 10">
            <a:extLst>
              <a:ext uri="{FF2B5EF4-FFF2-40B4-BE49-F238E27FC236}">
                <a16:creationId xmlns:a16="http://schemas.microsoft.com/office/drawing/2014/main" id="{B5CF3BFA-7A25-34C6-2979-E872DEF4E95E}"/>
              </a:ext>
            </a:extLst>
          </p:cNvPr>
          <p:cNvSpPr>
            <a:spLocks noGrp="1"/>
          </p:cNvSpPr>
          <p:nvPr>
            <p:ph type="body" sz="quarter" idx="24" hasCustomPrompt="1"/>
          </p:nvPr>
        </p:nvSpPr>
        <p:spPr>
          <a:xfrm>
            <a:off x="5997575" y="1950108"/>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12" name="Textplatzhalter 8">
            <a:extLst>
              <a:ext uri="{FF2B5EF4-FFF2-40B4-BE49-F238E27FC236}">
                <a16:creationId xmlns:a16="http://schemas.microsoft.com/office/drawing/2014/main" id="{0264E892-285F-4938-8A69-A1A3D140AD27}"/>
              </a:ext>
            </a:extLst>
          </p:cNvPr>
          <p:cNvSpPr>
            <a:spLocks noGrp="1"/>
          </p:cNvSpPr>
          <p:nvPr>
            <p:ph type="body" sz="quarter" idx="25" hasCustomPrompt="1"/>
          </p:nvPr>
        </p:nvSpPr>
        <p:spPr>
          <a:xfrm>
            <a:off x="5997415" y="3746204"/>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13" name="Textplatzhalter 10">
            <a:extLst>
              <a:ext uri="{FF2B5EF4-FFF2-40B4-BE49-F238E27FC236}">
                <a16:creationId xmlns:a16="http://schemas.microsoft.com/office/drawing/2014/main" id="{B8BC8AE4-BE09-9478-4478-CE74974B5BD7}"/>
              </a:ext>
            </a:extLst>
          </p:cNvPr>
          <p:cNvSpPr>
            <a:spLocks noGrp="1"/>
          </p:cNvSpPr>
          <p:nvPr>
            <p:ph type="body" sz="quarter" idx="26" hasCustomPrompt="1"/>
          </p:nvPr>
        </p:nvSpPr>
        <p:spPr>
          <a:xfrm>
            <a:off x="5997575" y="4123099"/>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14" name="Textplatzhalter 8">
            <a:extLst>
              <a:ext uri="{FF2B5EF4-FFF2-40B4-BE49-F238E27FC236}">
                <a16:creationId xmlns:a16="http://schemas.microsoft.com/office/drawing/2014/main" id="{C2AD8F4B-B816-DD4B-AFCF-515701BAE9CF}"/>
              </a:ext>
            </a:extLst>
          </p:cNvPr>
          <p:cNvSpPr>
            <a:spLocks noGrp="1"/>
          </p:cNvSpPr>
          <p:nvPr>
            <p:ph type="body" sz="quarter" idx="27" hasCustomPrompt="1"/>
          </p:nvPr>
        </p:nvSpPr>
        <p:spPr>
          <a:xfrm>
            <a:off x="2120740" y="1573213"/>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15" name="Textplatzhalter 10">
            <a:extLst>
              <a:ext uri="{FF2B5EF4-FFF2-40B4-BE49-F238E27FC236}">
                <a16:creationId xmlns:a16="http://schemas.microsoft.com/office/drawing/2014/main" id="{8959E892-BD1B-3EFD-E26F-896B02E4F5C4}"/>
              </a:ext>
            </a:extLst>
          </p:cNvPr>
          <p:cNvSpPr>
            <a:spLocks noGrp="1"/>
          </p:cNvSpPr>
          <p:nvPr>
            <p:ph type="body" sz="quarter" idx="28" hasCustomPrompt="1"/>
          </p:nvPr>
        </p:nvSpPr>
        <p:spPr>
          <a:xfrm>
            <a:off x="2120900" y="1985595"/>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16" name="Textplatzhalter 8">
            <a:extLst>
              <a:ext uri="{FF2B5EF4-FFF2-40B4-BE49-F238E27FC236}">
                <a16:creationId xmlns:a16="http://schemas.microsoft.com/office/drawing/2014/main" id="{C36E39FE-1CD2-789A-33B8-EF5024921606}"/>
              </a:ext>
            </a:extLst>
          </p:cNvPr>
          <p:cNvSpPr>
            <a:spLocks noGrp="1"/>
          </p:cNvSpPr>
          <p:nvPr>
            <p:ph type="body" sz="quarter" idx="29" hasCustomPrompt="1"/>
          </p:nvPr>
        </p:nvSpPr>
        <p:spPr>
          <a:xfrm>
            <a:off x="2120740" y="3746204"/>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17" name="Textplatzhalter 10">
            <a:extLst>
              <a:ext uri="{FF2B5EF4-FFF2-40B4-BE49-F238E27FC236}">
                <a16:creationId xmlns:a16="http://schemas.microsoft.com/office/drawing/2014/main" id="{5B22B0FD-EF33-22CF-B164-DFE64ECAFD25}"/>
              </a:ext>
            </a:extLst>
          </p:cNvPr>
          <p:cNvSpPr>
            <a:spLocks noGrp="1"/>
          </p:cNvSpPr>
          <p:nvPr>
            <p:ph type="body" sz="quarter" idx="30" hasCustomPrompt="1"/>
          </p:nvPr>
        </p:nvSpPr>
        <p:spPr>
          <a:xfrm>
            <a:off x="2120900" y="4123099"/>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18" name="Textplatzhalter 8">
            <a:extLst>
              <a:ext uri="{FF2B5EF4-FFF2-40B4-BE49-F238E27FC236}">
                <a16:creationId xmlns:a16="http://schemas.microsoft.com/office/drawing/2014/main" id="{2676C9FA-0CAD-8736-29A2-DA46BF52B7B5}"/>
              </a:ext>
            </a:extLst>
          </p:cNvPr>
          <p:cNvSpPr>
            <a:spLocks noGrp="1"/>
          </p:cNvSpPr>
          <p:nvPr>
            <p:ph type="body" sz="quarter" idx="31" hasCustomPrompt="1"/>
          </p:nvPr>
        </p:nvSpPr>
        <p:spPr>
          <a:xfrm>
            <a:off x="9863868" y="1573213"/>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25" name="Textplatzhalter 10">
            <a:extLst>
              <a:ext uri="{FF2B5EF4-FFF2-40B4-BE49-F238E27FC236}">
                <a16:creationId xmlns:a16="http://schemas.microsoft.com/office/drawing/2014/main" id="{391E3FCD-2460-B6AB-5F03-CD8DDDC27787}"/>
              </a:ext>
            </a:extLst>
          </p:cNvPr>
          <p:cNvSpPr>
            <a:spLocks noGrp="1"/>
          </p:cNvSpPr>
          <p:nvPr>
            <p:ph type="body" sz="quarter" idx="32" hasCustomPrompt="1"/>
          </p:nvPr>
        </p:nvSpPr>
        <p:spPr>
          <a:xfrm>
            <a:off x="9864028" y="1950108"/>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38" name="Textplatzhalter 8">
            <a:extLst>
              <a:ext uri="{FF2B5EF4-FFF2-40B4-BE49-F238E27FC236}">
                <a16:creationId xmlns:a16="http://schemas.microsoft.com/office/drawing/2014/main" id="{3B4EEE1E-1A35-7877-DDA1-667BF8C14992}"/>
              </a:ext>
            </a:extLst>
          </p:cNvPr>
          <p:cNvSpPr>
            <a:spLocks noGrp="1"/>
          </p:cNvSpPr>
          <p:nvPr>
            <p:ph type="body" sz="quarter" idx="33" hasCustomPrompt="1"/>
          </p:nvPr>
        </p:nvSpPr>
        <p:spPr>
          <a:xfrm>
            <a:off x="9863868" y="3746204"/>
            <a:ext cx="1941513" cy="376895"/>
          </a:xfrm>
        </p:spPr>
        <p:txBody>
          <a:bodyPr>
            <a:noAutofit/>
          </a:bodyPr>
          <a:lstStyle>
            <a:lvl1pPr marL="0" indent="0">
              <a:lnSpc>
                <a:spcPct val="100000"/>
              </a:lnSpc>
              <a:buNone/>
              <a:defRPr>
                <a:latin typeface="+mj-lt"/>
              </a:defRPr>
            </a:lvl1pPr>
          </a:lstStyle>
          <a:p>
            <a:pPr lvl="0"/>
            <a:r>
              <a:rPr lang="en-US" noProof="0"/>
              <a:t>Name</a:t>
            </a:r>
            <a:endParaRPr lang="en-US" noProof="0" dirty="0"/>
          </a:p>
        </p:txBody>
      </p:sp>
      <p:sp>
        <p:nvSpPr>
          <p:cNvPr id="39" name="Textplatzhalter 10">
            <a:extLst>
              <a:ext uri="{FF2B5EF4-FFF2-40B4-BE49-F238E27FC236}">
                <a16:creationId xmlns:a16="http://schemas.microsoft.com/office/drawing/2014/main" id="{0FD4E41D-4755-CF27-D237-60267CFF622F}"/>
              </a:ext>
            </a:extLst>
          </p:cNvPr>
          <p:cNvSpPr>
            <a:spLocks noGrp="1"/>
          </p:cNvSpPr>
          <p:nvPr>
            <p:ph type="body" sz="quarter" idx="34" hasCustomPrompt="1"/>
          </p:nvPr>
        </p:nvSpPr>
        <p:spPr>
          <a:xfrm>
            <a:off x="9864028" y="4123099"/>
            <a:ext cx="1941513" cy="1056624"/>
          </a:xfrm>
        </p:spPr>
        <p:txBody>
          <a:bodyPr tIns="72000">
            <a:noAutofit/>
          </a:bodyPr>
          <a:lstStyle>
            <a:lvl1pPr marL="0" indent="0">
              <a:buNone/>
              <a:defRPr sz="1000"/>
            </a:lvl1pPr>
          </a:lstStyle>
          <a:p>
            <a:pPr lvl="0"/>
            <a:r>
              <a:rPr lang="en-US" noProof="0"/>
              <a:t>Position</a:t>
            </a:r>
            <a:br>
              <a:rPr lang="en-US" noProof="0"/>
            </a:br>
            <a:r>
              <a:rPr lang="en-US" noProof="0"/>
              <a:t>Tel. Nr.</a:t>
            </a:r>
            <a:br>
              <a:rPr lang="en-US" noProof="0"/>
            </a:br>
            <a:r>
              <a:rPr lang="en-US" noProof="0"/>
              <a:t>E-Mail</a:t>
            </a:r>
            <a:endParaRPr lang="en-US" noProof="0" dirty="0"/>
          </a:p>
        </p:txBody>
      </p:sp>
      <p:sp>
        <p:nvSpPr>
          <p:cNvPr id="7" name="Textplatzhalter 3">
            <a:extLst>
              <a:ext uri="{FF2B5EF4-FFF2-40B4-BE49-F238E27FC236}">
                <a16:creationId xmlns:a16="http://schemas.microsoft.com/office/drawing/2014/main" id="{167B3CBC-FE67-1F94-0B5C-AFC10D94422A}"/>
              </a:ext>
            </a:extLst>
          </p:cNvPr>
          <p:cNvSpPr>
            <a:spLocks noGrp="1"/>
          </p:cNvSpPr>
          <p:nvPr>
            <p:ph type="body" sz="quarter" idx="3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a:t>Topline</a:t>
            </a:r>
            <a:endParaRPr lang="en-US" noProof="0" dirty="0"/>
          </a:p>
        </p:txBody>
      </p:sp>
      <p:sp>
        <p:nvSpPr>
          <p:cNvPr id="28" name="Slide Number Placeholder 27">
            <a:extLst>
              <a:ext uri="{FF2B5EF4-FFF2-40B4-BE49-F238E27FC236}">
                <a16:creationId xmlns:a16="http://schemas.microsoft.com/office/drawing/2014/main" id="{6FBD9725-4738-E23F-83D4-2CEF48B0339F}"/>
              </a:ext>
            </a:extLst>
          </p:cNvPr>
          <p:cNvSpPr>
            <a:spLocks noGrp="1"/>
          </p:cNvSpPr>
          <p:nvPr>
            <p:ph type="sldNum" sz="quarter" idx="38"/>
          </p:nvPr>
        </p:nvSpPr>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16180801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extLst>
              <p:ext uri="{D42A27DB-BD31-4B8C-83A1-F6EECF244321}">
                <p14:modId xmlns:p14="http://schemas.microsoft.com/office/powerpoint/2010/main" val="37551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bwMode="gray">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noProof="0" dirty="0"/>
          </a:p>
        </p:txBody>
      </p:sp>
      <p:sp>
        <p:nvSpPr>
          <p:cNvPr id="7" name="Bildplatzhalter 16">
            <a:extLst>
              <a:ext uri="{FF2B5EF4-FFF2-40B4-BE49-F238E27FC236}">
                <a16:creationId xmlns:a16="http://schemas.microsoft.com/office/drawing/2014/main" id="{3245D409-780A-120B-1682-BA5F0D374CFF}"/>
              </a:ext>
            </a:extLst>
          </p:cNvPr>
          <p:cNvSpPr>
            <a:spLocks noGrp="1"/>
          </p:cNvSpPr>
          <p:nvPr>
            <p:ph type="pic" sz="quarter" idx="16" hasCustomPrompt="1"/>
          </p:nvPr>
        </p:nvSpPr>
        <p:spPr bwMode="gray">
          <a:xfrm>
            <a:off x="11490432" y="6170720"/>
            <a:ext cx="318980" cy="31898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r>
              <a:rPr lang="en-US" noProof="0"/>
              <a:t> </a:t>
            </a:r>
            <a:endParaRPr lang="en-US" noProof="0" dirty="0"/>
          </a:p>
        </p:txBody>
      </p:sp>
      <p:sp>
        <p:nvSpPr>
          <p:cNvPr id="9" name="Text Placeholder 8">
            <a:extLst>
              <a:ext uri="{FF2B5EF4-FFF2-40B4-BE49-F238E27FC236}">
                <a16:creationId xmlns:a16="http://schemas.microsoft.com/office/drawing/2014/main" id="{17605212-4C08-B347-F6E8-8925E265895F}"/>
              </a:ext>
            </a:extLst>
          </p:cNvPr>
          <p:cNvSpPr>
            <a:spLocks noGrp="1"/>
          </p:cNvSpPr>
          <p:nvPr>
            <p:ph type="body" sz="quarter" idx="17" hasCustomPrompt="1"/>
          </p:nvPr>
        </p:nvSpPr>
        <p:spPr bwMode="gray">
          <a:xfrm>
            <a:off x="2320925" y="2282825"/>
            <a:ext cx="7550150" cy="2292350"/>
          </a:xfrm>
        </p:spPr>
        <p:txBody>
          <a:bodyPr anchor="ctr" anchorCtr="0"/>
          <a:lstStyle>
            <a:lvl1pPr marL="0" indent="0" algn="ctr">
              <a:buNone/>
              <a:defRPr sz="4000">
                <a:solidFill>
                  <a:schemeClr val="bg1"/>
                </a:solidFill>
                <a:latin typeface="+mj-lt"/>
              </a:defRPr>
            </a:lvl1pPr>
          </a:lstStyle>
          <a:p>
            <a:pPr lvl="0"/>
            <a:r>
              <a:rPr lang="en-US" noProof="0"/>
              <a:t>Thank You.</a:t>
            </a:r>
            <a:endParaRPr lang="en-US" noProof="0" dirty="0"/>
          </a:p>
        </p:txBody>
      </p:sp>
      <p:sp>
        <p:nvSpPr>
          <p:cNvPr id="15" name="Slide Number Placeholder 14">
            <a:extLst>
              <a:ext uri="{FF2B5EF4-FFF2-40B4-BE49-F238E27FC236}">
                <a16:creationId xmlns:a16="http://schemas.microsoft.com/office/drawing/2014/main" id="{D8DDF6B9-5495-CD14-9690-67A6E4C88F3D}"/>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dirty="0"/>
          </a:p>
        </p:txBody>
      </p:sp>
      <p:sp>
        <p:nvSpPr>
          <p:cNvPr id="2" name="Bildplatzhalter 19">
            <a:extLst>
              <a:ext uri="{FF2B5EF4-FFF2-40B4-BE49-F238E27FC236}">
                <a16:creationId xmlns:a16="http://schemas.microsoft.com/office/drawing/2014/main" id="{146758F8-CAD7-CECD-D41C-D0679C495549}"/>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11" name="Textfeld 8">
            <a:extLst>
              <a:ext uri="{FF2B5EF4-FFF2-40B4-BE49-F238E27FC236}">
                <a16:creationId xmlns:a16="http://schemas.microsoft.com/office/drawing/2014/main" id="{60192EA3-4A31-4355-9EE8-762760FEDC45}"/>
              </a:ext>
            </a:extLst>
          </p:cNvPr>
          <p:cNvSpPr txBox="1"/>
          <p:nvPr userDrawn="1"/>
        </p:nvSpPr>
        <p:spPr>
          <a:xfrm>
            <a:off x="3466593" y="6372120"/>
            <a:ext cx="5400000" cy="180000"/>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lumMod val="20000"/>
                    <a:lumOff val="80000"/>
                  </a:schemeClr>
                </a:solidFill>
                <a:latin typeface="+mn-lt"/>
                <a:ea typeface="+mn-ea"/>
                <a:cs typeface="Calibri Light" panose="020F0302020204030204" pitchFamily="34" charset="0"/>
              </a:rPr>
              <a:t>Basalite Meeting | Delta BC | Ignacio Cariaga &amp; Brandon Livingstone </a:t>
            </a:r>
          </a:p>
        </p:txBody>
      </p:sp>
      <p:sp>
        <p:nvSpPr>
          <p:cNvPr id="12" name="Textfeld 8">
            <a:extLst>
              <a:ext uri="{FF2B5EF4-FFF2-40B4-BE49-F238E27FC236}">
                <a16:creationId xmlns:a16="http://schemas.microsoft.com/office/drawing/2014/main" id="{D5854E70-CDB1-41DA-BB3B-AA656A28B853}"/>
              </a:ext>
            </a:extLst>
          </p:cNvPr>
          <p:cNvSpPr txBox="1"/>
          <p:nvPr userDrawn="1"/>
        </p:nvSpPr>
        <p:spPr>
          <a:xfrm>
            <a:off x="2472508" y="6383574"/>
            <a:ext cx="831600" cy="157091"/>
          </a:xfrm>
          <a:prstGeom prst="rect">
            <a:avLst/>
          </a:prstGeom>
          <a:noFill/>
        </p:spPr>
        <p:txBody>
          <a:bodyPr wrap="none" lIns="0" tIns="0" rIns="0" bIns="0" rtlCol="0" anchor="ctr">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lumMod val="20000"/>
                    <a:lumOff val="80000"/>
                  </a:schemeClr>
                </a:solidFill>
                <a:latin typeface="+mn-lt"/>
                <a:ea typeface="+mn-ea"/>
                <a:cs typeface="Calibri Light" panose="020F0302020204030204" pitchFamily="34" charset="0"/>
              </a:rPr>
              <a:t>01.23.2023</a:t>
            </a:r>
          </a:p>
        </p:txBody>
      </p:sp>
    </p:spTree>
    <p:extLst>
      <p:ext uri="{BB962C8B-B14F-4D97-AF65-F5344CB8AC3E}">
        <p14:creationId xmlns:p14="http://schemas.microsoft.com/office/powerpoint/2010/main" val="28082489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extLst>
              <p:ext uri="{D42A27DB-BD31-4B8C-83A1-F6EECF244321}">
                <p14:modId xmlns:p14="http://schemas.microsoft.com/office/powerpoint/2010/main" val="37551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dirty="0"/>
          </a:p>
        </p:txBody>
      </p:sp>
      <p:pic>
        <p:nvPicPr>
          <p:cNvPr id="3" name="Graphic 2">
            <a:extLst>
              <a:ext uri="{FF2B5EF4-FFF2-40B4-BE49-F238E27FC236}">
                <a16:creationId xmlns:a16="http://schemas.microsoft.com/office/drawing/2014/main" id="{819D2950-9D3C-40EE-E8B1-E7004C693D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20925" y="2342758"/>
            <a:ext cx="7550150" cy="2172485"/>
          </a:xfrm>
          <a:prstGeom prst="rect">
            <a:avLst/>
          </a:prstGeom>
        </p:spPr>
      </p:pic>
    </p:spTree>
    <p:extLst>
      <p:ext uri="{BB962C8B-B14F-4D97-AF65-F5344CB8AC3E}">
        <p14:creationId xmlns:p14="http://schemas.microsoft.com/office/powerpoint/2010/main" val="35186623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FE91B80-8DDD-E2E4-DC69-6D645346A906}"/>
              </a:ext>
            </a:extLst>
          </p:cNvPr>
          <p:cNvPicPr>
            <a:picLocks noChangeAspect="1"/>
          </p:cNvPicPr>
          <p:nvPr userDrawn="1"/>
        </p:nvPicPr>
        <p:blipFill rotWithShape="1">
          <a:blip r:embed="rId2"/>
          <a:srcRect l="118" t="13749" b="18367"/>
          <a:stretch/>
        </p:blipFill>
        <p:spPr>
          <a:xfrm>
            <a:off x="0" y="0"/>
            <a:ext cx="12177585" cy="8276491"/>
          </a:xfrm>
          <a:prstGeom prst="rect">
            <a:avLst/>
          </a:prstGeom>
        </p:spPr>
      </p:pic>
      <p:sp>
        <p:nvSpPr>
          <p:cNvPr id="2" name="Title 1">
            <a:extLst>
              <a:ext uri="{FF2B5EF4-FFF2-40B4-BE49-F238E27FC236}">
                <a16:creationId xmlns:a16="http://schemas.microsoft.com/office/drawing/2014/main" id="{17306A84-229F-5784-BBAD-DB0D1374AB5D}"/>
              </a:ext>
            </a:extLst>
          </p:cNvPr>
          <p:cNvSpPr>
            <a:spLocks noGrp="1"/>
          </p:cNvSpPr>
          <p:nvPr>
            <p:ph type="ctrTitle"/>
          </p:nvPr>
        </p:nvSpPr>
        <p:spPr>
          <a:xfrm>
            <a:off x="1524001" y="1834824"/>
            <a:ext cx="9144000" cy="1675139"/>
          </a:xfrm>
        </p:spPr>
        <p:txBody>
          <a:bodyPr anchor="b"/>
          <a:lstStyle>
            <a:lvl1pPr algn="ctr">
              <a:defRPr sz="5980"/>
            </a:lvl1pPr>
          </a:lstStyle>
          <a:p>
            <a:r>
              <a:rPr lang="en-US"/>
              <a:t>Click to edit Master title style</a:t>
            </a:r>
          </a:p>
        </p:txBody>
      </p:sp>
      <p:sp>
        <p:nvSpPr>
          <p:cNvPr id="3" name="Subtitle 2">
            <a:extLst>
              <a:ext uri="{FF2B5EF4-FFF2-40B4-BE49-F238E27FC236}">
                <a16:creationId xmlns:a16="http://schemas.microsoft.com/office/drawing/2014/main" id="{741AE0E1-85AF-55E1-6D63-8431D3959AC9}"/>
              </a:ext>
            </a:extLst>
          </p:cNvPr>
          <p:cNvSpPr>
            <a:spLocks noGrp="1"/>
          </p:cNvSpPr>
          <p:nvPr>
            <p:ph type="subTitle" idx="1"/>
          </p:nvPr>
        </p:nvSpPr>
        <p:spPr>
          <a:xfrm>
            <a:off x="1524001" y="3602038"/>
            <a:ext cx="9144000" cy="1655763"/>
          </a:xfrm>
        </p:spPr>
        <p:txBody>
          <a:bodyPr/>
          <a:lstStyle>
            <a:lvl1pPr marL="0" indent="0" algn="ctr">
              <a:buNone/>
              <a:defRPr sz="2392"/>
            </a:lvl1pPr>
            <a:lvl2pPr marL="455677" indent="0" algn="ctr">
              <a:buNone/>
              <a:defRPr sz="1993"/>
            </a:lvl2pPr>
            <a:lvl3pPr marL="911352" indent="0" algn="ctr">
              <a:buNone/>
              <a:defRPr sz="1794"/>
            </a:lvl3pPr>
            <a:lvl4pPr marL="1367028" indent="0" algn="ctr">
              <a:buNone/>
              <a:defRPr sz="1595"/>
            </a:lvl4pPr>
            <a:lvl5pPr marL="1822704" indent="0" algn="ctr">
              <a:buNone/>
              <a:defRPr sz="1595"/>
            </a:lvl5pPr>
            <a:lvl6pPr marL="2278380" indent="0" algn="ctr">
              <a:buNone/>
              <a:defRPr sz="1595"/>
            </a:lvl6pPr>
            <a:lvl7pPr marL="2734056" indent="0" algn="ctr">
              <a:buNone/>
              <a:defRPr sz="1595"/>
            </a:lvl7pPr>
            <a:lvl8pPr marL="3189732" indent="0" algn="ctr">
              <a:buNone/>
              <a:defRPr sz="1595"/>
            </a:lvl8pPr>
            <a:lvl9pPr marL="3645407" indent="0" algn="ctr">
              <a:buNone/>
              <a:defRPr sz="1595"/>
            </a:lvl9pPr>
          </a:lstStyle>
          <a:p>
            <a:r>
              <a:rPr lang="en-US"/>
              <a:t>Click to edit Master subtitle style</a:t>
            </a:r>
          </a:p>
        </p:txBody>
      </p:sp>
      <p:sp>
        <p:nvSpPr>
          <p:cNvPr id="4" name="Date Placeholder 3">
            <a:extLst>
              <a:ext uri="{FF2B5EF4-FFF2-40B4-BE49-F238E27FC236}">
                <a16:creationId xmlns:a16="http://schemas.microsoft.com/office/drawing/2014/main" id="{9B145F58-B85E-2C7F-26D5-8457B52D5BB2}"/>
              </a:ext>
            </a:extLst>
          </p:cNvPr>
          <p:cNvSpPr>
            <a:spLocks noGrp="1"/>
          </p:cNvSpPr>
          <p:nvPr>
            <p:ph type="dt" sz="half" idx="10"/>
          </p:nvPr>
        </p:nvSpPr>
        <p:spPr/>
        <p:txBody>
          <a:bodyPr/>
          <a:lstStyle/>
          <a:p>
            <a:fld id="{B38CE0B8-DE41-2144-B517-9692F9D2218E}" type="datetimeFigureOut">
              <a:rPr lang="en-US" smtClean="0"/>
              <a:t>5/21/2023</a:t>
            </a:fld>
            <a:endParaRPr lang="en-US"/>
          </a:p>
        </p:txBody>
      </p:sp>
      <p:sp>
        <p:nvSpPr>
          <p:cNvPr id="5" name="Footer Placeholder 4">
            <a:extLst>
              <a:ext uri="{FF2B5EF4-FFF2-40B4-BE49-F238E27FC236}">
                <a16:creationId xmlns:a16="http://schemas.microsoft.com/office/drawing/2014/main" id="{A70EC90D-BC87-7FB2-317D-B2F1231D39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2756C0-B795-B4F6-BB67-3A956900278A}"/>
              </a:ext>
            </a:extLst>
          </p:cNvPr>
          <p:cNvSpPr>
            <a:spLocks noGrp="1"/>
          </p:cNvSpPr>
          <p:nvPr>
            <p:ph type="sldNum" sz="quarter" idx="12"/>
          </p:nvPr>
        </p:nvSpPr>
        <p:spPr/>
        <p:txBody>
          <a:bodyPr/>
          <a:lstStyle/>
          <a:p>
            <a:fld id="{A4B644C5-D5B5-0449-84EC-AA557C64AF04}" type="slidenum">
              <a:rPr lang="en-US" smtClean="0"/>
              <a:t>‹#›</a:t>
            </a:fld>
            <a:endParaRPr lang="en-US"/>
          </a:p>
        </p:txBody>
      </p:sp>
    </p:spTree>
    <p:extLst>
      <p:ext uri="{BB962C8B-B14F-4D97-AF65-F5344CB8AC3E}">
        <p14:creationId xmlns:p14="http://schemas.microsoft.com/office/powerpoint/2010/main" val="33389573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8EB7E7-44AB-1CC0-2E66-F4064B8D9E17}"/>
              </a:ext>
            </a:extLst>
          </p:cNvPr>
          <p:cNvGraphicFramePr>
            <a:graphicFrameLocks noChangeAspect="1"/>
          </p:cNvGraphicFramePr>
          <p:nvPr>
            <p:custDataLst>
              <p:tags r:id="rId1"/>
            </p:custDataLst>
            <p:extLst>
              <p:ext uri="{D42A27DB-BD31-4B8C-83A1-F6EECF244321}">
                <p14:modId xmlns:p14="http://schemas.microsoft.com/office/powerpoint/2010/main" val="360504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a:extLst>
                          <a:ext uri="{FF2B5EF4-FFF2-40B4-BE49-F238E27FC236}">
                            <a16:creationId xmlns:a16="http://schemas.microsoft.com/office/drawing/2014/main" id="{7A8EB7E7-44AB-1CC0-2E66-F4064B8D9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lvl1pPr>
              <a:defRPr/>
            </a:lvl1pPr>
          </a:lstStyle>
          <a:p>
            <a:r>
              <a:rPr lang="en-US" noProof="0"/>
              <a:t>Slide heading</a:t>
            </a:r>
          </a:p>
        </p:txBody>
      </p:sp>
      <p:sp>
        <p:nvSpPr>
          <p:cNvPr id="8" name="Textplatzhalter 3">
            <a:extLst>
              <a:ext uri="{FF2B5EF4-FFF2-40B4-BE49-F238E27FC236}">
                <a16:creationId xmlns:a16="http://schemas.microsoft.com/office/drawing/2014/main" id="{4D62F9FA-9E38-665C-01B6-A879502664C8}"/>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7" name="Date Placeholder 16">
            <a:extLst>
              <a:ext uri="{FF2B5EF4-FFF2-40B4-BE49-F238E27FC236}">
                <a16:creationId xmlns:a16="http://schemas.microsoft.com/office/drawing/2014/main" id="{7FFB19FE-7131-7451-8A2F-E57E3CA78C71}"/>
              </a:ext>
            </a:extLst>
          </p:cNvPr>
          <p:cNvSpPr>
            <a:spLocks noGrp="1"/>
          </p:cNvSpPr>
          <p:nvPr>
            <p:ph type="dt" sz="half" idx="15"/>
          </p:nvPr>
        </p:nvSpPr>
        <p:spPr/>
        <p:txBody>
          <a:bodyPr/>
          <a:lstStyle/>
          <a:p>
            <a:r>
              <a:rPr lang="en-US"/>
              <a:t>October 2022</a:t>
            </a:r>
            <a:endParaRPr lang="en-US" noProof="0"/>
          </a:p>
        </p:txBody>
      </p:sp>
      <p:sp>
        <p:nvSpPr>
          <p:cNvPr id="18" name="Footer Placeholder 17">
            <a:extLst>
              <a:ext uri="{FF2B5EF4-FFF2-40B4-BE49-F238E27FC236}">
                <a16:creationId xmlns:a16="http://schemas.microsoft.com/office/drawing/2014/main" id="{7C7085E5-A282-BD93-CF05-4029127F1FE9}"/>
              </a:ext>
            </a:extLst>
          </p:cNvPr>
          <p:cNvSpPr>
            <a:spLocks noGrp="1"/>
          </p:cNvSpPr>
          <p:nvPr>
            <p:ph type="ftr" sz="quarter" idx="16"/>
          </p:nvPr>
        </p:nvSpPr>
        <p:spPr>
          <a:xfrm>
            <a:off x="3432419" y="6387525"/>
            <a:ext cx="5451520" cy="123111"/>
          </a:xfrm>
        </p:spPr>
        <p:txBody>
          <a:bodyPr/>
          <a:lstStyle/>
          <a:p>
            <a:r>
              <a:rPr lang="en-US" dirty="0"/>
              <a:t>Region Branding Rollout | DRAFT</a:t>
            </a:r>
          </a:p>
        </p:txBody>
      </p:sp>
      <p:sp>
        <p:nvSpPr>
          <p:cNvPr id="19" name="Slide Number Placeholder 18">
            <a:extLst>
              <a:ext uri="{FF2B5EF4-FFF2-40B4-BE49-F238E27FC236}">
                <a16:creationId xmlns:a16="http://schemas.microsoft.com/office/drawing/2014/main" id="{3D5AD9F3-58E0-83DA-AC42-9B48A8D0B4E2}"/>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376079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Education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Education Page in Calibri 22 pt.</a:t>
            </a:r>
          </a:p>
        </p:txBody>
      </p:sp>
      <p:sp>
        <p:nvSpPr>
          <p:cNvPr id="4" name="Textplatzhalter 12">
            <a:extLst>
              <a:ext uri="{FF2B5EF4-FFF2-40B4-BE49-F238E27FC236}">
                <a16:creationId xmlns:a16="http://schemas.microsoft.com/office/drawing/2014/main" id="{AB30D31E-003F-438D-AE94-AB2787B544BD}"/>
              </a:ext>
            </a:extLst>
          </p:cNvPr>
          <p:cNvSpPr>
            <a:spLocks noGrp="1"/>
          </p:cNvSpPr>
          <p:nvPr>
            <p:ph type="body" sz="quarter" idx="14" hasCustomPrompt="1"/>
          </p:nvPr>
        </p:nvSpPr>
        <p:spPr>
          <a:xfrm>
            <a:off x="650881" y="277229"/>
            <a:ext cx="11189820" cy="218427"/>
          </a:xfrm>
          <a:noFill/>
        </p:spPr>
        <p:txBody>
          <a:bodyPr wrap="none"/>
          <a:lstStyle>
            <a:lvl1pPr algn="ctr">
              <a:lnSpc>
                <a:spcPts val="1693"/>
              </a:lnSpc>
              <a:spcAft>
                <a:spcPts val="0"/>
              </a:spcAft>
              <a:buFontTx/>
              <a:buNone/>
              <a:defRPr sz="1330" b="0" cap="all" spc="363" baseline="0">
                <a:solidFill>
                  <a:schemeClr val="tx2"/>
                </a:solidFill>
                <a:latin typeface="+mn-lt"/>
              </a:defRPr>
            </a:lvl1pPr>
            <a:lvl2pPr>
              <a:lnSpc>
                <a:spcPts val="1693"/>
              </a:lnSpc>
              <a:spcAft>
                <a:spcPts val="0"/>
              </a:spcAft>
              <a:buFontTx/>
              <a:buNone/>
              <a:defRPr sz="1451">
                <a:solidFill>
                  <a:schemeClr val="tx2"/>
                </a:solidFill>
                <a:latin typeface="+mn-lt"/>
                <a:cs typeface="Calibri" panose="020F0502020204030204" pitchFamily="34" charset="0"/>
              </a:defRPr>
            </a:lvl2pPr>
            <a:lvl3pPr marL="0" indent="0">
              <a:lnSpc>
                <a:spcPts val="1693"/>
              </a:lnSpc>
              <a:spcAft>
                <a:spcPts val="0"/>
              </a:spcAft>
              <a:buFontTx/>
              <a:buNone/>
              <a:defRPr sz="1451">
                <a:solidFill>
                  <a:schemeClr val="tx2"/>
                </a:solidFill>
                <a:latin typeface="+mn-lt"/>
                <a:cs typeface="Calibri" panose="020F0502020204030204" pitchFamily="34" charset="0"/>
              </a:defRPr>
            </a:lvl3pPr>
            <a:lvl4pPr marL="0" indent="0">
              <a:lnSpc>
                <a:spcPts val="1693"/>
              </a:lnSpc>
              <a:spcAft>
                <a:spcPts val="0"/>
              </a:spcAft>
              <a:buFontTx/>
              <a:buNone/>
              <a:defRPr sz="1451">
                <a:solidFill>
                  <a:schemeClr val="tx2"/>
                </a:solidFill>
                <a:latin typeface="+mn-lt"/>
                <a:cs typeface="Calibri" panose="020F0502020204030204" pitchFamily="34" charset="0"/>
              </a:defRPr>
            </a:lvl4pPr>
            <a:lvl5pPr marL="0" indent="0">
              <a:lnSpc>
                <a:spcPts val="1693"/>
              </a:lnSpc>
              <a:spcAft>
                <a:spcPts val="0"/>
              </a:spcAft>
              <a:buFontTx/>
              <a:buNone/>
              <a:defRPr sz="1451">
                <a:solidFill>
                  <a:schemeClr val="tx2"/>
                </a:solidFill>
                <a:latin typeface="+mn-lt"/>
                <a:cs typeface="Calibri" panose="020F0502020204030204" pitchFamily="34" charset="0"/>
              </a:defRPr>
            </a:lvl5pPr>
            <a:lvl6pPr marL="0" indent="0">
              <a:lnSpc>
                <a:spcPts val="1693"/>
              </a:lnSpc>
              <a:spcBef>
                <a:spcPts val="0"/>
              </a:spcBef>
              <a:buNone/>
              <a:defRPr sz="1451">
                <a:solidFill>
                  <a:schemeClr val="tx2"/>
                </a:solidFill>
              </a:defRPr>
            </a:lvl6pPr>
            <a:lvl7pPr marL="0" indent="0">
              <a:lnSpc>
                <a:spcPts val="1693"/>
              </a:lnSpc>
              <a:spcBef>
                <a:spcPts val="0"/>
              </a:spcBef>
              <a:buNone/>
              <a:defRPr sz="1451">
                <a:solidFill>
                  <a:schemeClr val="tx2"/>
                </a:solidFill>
              </a:defRPr>
            </a:lvl7pPr>
            <a:lvl8pPr marL="0" indent="0">
              <a:lnSpc>
                <a:spcPts val="1693"/>
              </a:lnSpc>
              <a:spcBef>
                <a:spcPts val="0"/>
              </a:spcBef>
              <a:buNone/>
              <a:defRPr sz="1451">
                <a:solidFill>
                  <a:schemeClr val="tx2"/>
                </a:solidFill>
                <a:latin typeface="+mn-lt"/>
              </a:defRPr>
            </a:lvl8pPr>
            <a:lvl9pPr marL="0" indent="0">
              <a:lnSpc>
                <a:spcPts val="1693"/>
              </a:lnSpc>
              <a:spcBef>
                <a:spcPts val="0"/>
              </a:spcBef>
              <a:buNone/>
              <a:defRPr sz="1451">
                <a:solidFill>
                  <a:schemeClr val="tx2"/>
                </a:solidFill>
              </a:defRPr>
            </a:lvl9pPr>
          </a:lstStyle>
          <a:p>
            <a:pPr lvl="0"/>
            <a:r>
              <a:rPr lang="en-US" noProof="0"/>
              <a:t>Optional chapter heading in Calibri Light 11 pt.</a:t>
            </a:r>
          </a:p>
        </p:txBody>
      </p:sp>
      <p:sp>
        <p:nvSpPr>
          <p:cNvPr id="7" name="Text Placeholder 6"/>
          <p:cNvSpPr>
            <a:spLocks noGrp="1"/>
          </p:cNvSpPr>
          <p:nvPr>
            <p:ph type="body" sz="quarter" idx="15" hasCustomPrompt="1"/>
          </p:nvPr>
        </p:nvSpPr>
        <p:spPr>
          <a:xfrm>
            <a:off x="650881" y="1428955"/>
            <a:ext cx="11189820" cy="4773481"/>
          </a:xfrm>
        </p:spPr>
        <p:txBody>
          <a:bodyPr/>
          <a:lstStyle>
            <a:lvl1pPr>
              <a:defRPr baseline="0"/>
            </a:lvl1pPr>
          </a:lstStyle>
          <a:p>
            <a:pPr lvl="0"/>
            <a:r>
              <a:rPr lang="en-US"/>
              <a:t>This page does not carry a logo per AIA or other trade associations’ presentation guidelines.</a:t>
            </a:r>
          </a:p>
        </p:txBody>
      </p:sp>
    </p:spTree>
    <p:extLst>
      <p:ext uri="{BB962C8B-B14F-4D97-AF65-F5344CB8AC3E}">
        <p14:creationId xmlns:p14="http://schemas.microsoft.com/office/powerpoint/2010/main" val="44905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Agenda 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62DABF9-3F54-0EC6-73B6-EDD098E6B7CD}"/>
              </a:ext>
            </a:extLst>
          </p:cNvPr>
          <p:cNvSpPr/>
          <p:nvPr userDrawn="1"/>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aphicFrame>
        <p:nvGraphicFramePr>
          <p:cNvPr id="9" name="Object 8" hidden="1">
            <a:extLst>
              <a:ext uri="{FF2B5EF4-FFF2-40B4-BE49-F238E27FC236}">
                <a16:creationId xmlns:a16="http://schemas.microsoft.com/office/drawing/2014/main" id="{AD92A061-8253-231E-49A3-4FC46F997AF9}"/>
              </a:ext>
            </a:extLst>
          </p:cNvPr>
          <p:cNvGraphicFramePr>
            <a:graphicFrameLocks noChangeAspect="1"/>
          </p:cNvGraphicFramePr>
          <p:nvPr>
            <p:custDataLst>
              <p:tags r:id="rId1"/>
            </p:custDataLst>
            <p:extLst>
              <p:ext uri="{D42A27DB-BD31-4B8C-83A1-F6EECF244321}">
                <p14:modId xmlns:p14="http://schemas.microsoft.com/office/powerpoint/2010/main" val="306346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D92A061-8253-231E-49A3-4FC46F997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bwMode="gray">
          <a:xfrm>
            <a:off x="0" y="1"/>
            <a:ext cx="5032375" cy="6857729"/>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6192838" y="542123"/>
            <a:ext cx="5618162" cy="283219"/>
          </a:xfrm>
        </p:spPr>
        <p:txBody>
          <a:bodyPr vert="horz"/>
          <a:lstStyle>
            <a:lvl1pPr>
              <a:defRPr>
                <a:solidFill>
                  <a:schemeClr val="bg1"/>
                </a:solidFill>
              </a:defRPr>
            </a:lvl1pPr>
          </a:lstStyle>
          <a:p>
            <a:r>
              <a:rPr lang="en-US" noProof="0"/>
              <a:t>Agenda</a:t>
            </a:r>
            <a:endParaRPr lang="en-US" noProof="0" dirty="0"/>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bwMode="gray">
          <a:xfrm>
            <a:off x="6192838" y="1539550"/>
            <a:ext cx="5618162" cy="242597"/>
          </a:xfrm>
        </p:spPr>
        <p:txBody>
          <a:bodyPr/>
          <a:lstStyle>
            <a:lvl1pPr marL="719138" indent="-719138">
              <a:buFont typeface="+mj-lt"/>
              <a:buAutoNum type="arabicPeriod"/>
              <a:defRPr>
                <a:solidFill>
                  <a:schemeClr val="bg1"/>
                </a:solidFill>
                <a:latin typeface="+mj-lt"/>
              </a:defRPr>
            </a:lvl1pPr>
          </a:lstStyle>
          <a:p>
            <a:pPr lvl="0"/>
            <a:r>
              <a:rPr lang="en-US" noProof="0"/>
              <a:t>Chapter</a:t>
            </a:r>
            <a:endParaRPr lang="en-US" noProof="0" dirty="0"/>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bwMode="gray">
          <a:xfrm>
            <a:off x="6192838" y="1782148"/>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bwMode="gray">
          <a:xfrm>
            <a:off x="6192838" y="2294745"/>
            <a:ext cx="5618162" cy="242597"/>
          </a:xfrm>
        </p:spPr>
        <p:txBody>
          <a:bodyPr/>
          <a:lstStyle>
            <a:lvl1pPr marL="719138" indent="-719138">
              <a:buFont typeface="+mj-lt"/>
              <a:buAutoNum type="arabicPeriod" startAt="2"/>
              <a:defRPr>
                <a:solidFill>
                  <a:schemeClr val="bg1"/>
                </a:solidFill>
                <a:latin typeface="+mj-lt"/>
              </a:defRPr>
            </a:lvl1pPr>
          </a:lstStyle>
          <a:p>
            <a:pPr lvl="0"/>
            <a:r>
              <a:rPr lang="en-US" noProof="0"/>
              <a:t>Chapter</a:t>
            </a:r>
            <a:endParaRPr lang="en-US" noProof="0" dirty="0"/>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bwMode="gray">
          <a:xfrm>
            <a:off x="6192838" y="2537342"/>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bwMode="gray">
          <a:xfrm>
            <a:off x="6192838" y="3049939"/>
            <a:ext cx="5618162" cy="242597"/>
          </a:xfrm>
        </p:spPr>
        <p:txBody>
          <a:bodyPr/>
          <a:lstStyle>
            <a:lvl1pPr marL="719138" indent="-719138">
              <a:buFont typeface="+mj-lt"/>
              <a:buAutoNum type="arabicPeriod" startAt="3"/>
              <a:defRPr>
                <a:solidFill>
                  <a:schemeClr val="bg1"/>
                </a:solidFill>
                <a:latin typeface="+mj-lt"/>
              </a:defRPr>
            </a:lvl1pPr>
          </a:lstStyle>
          <a:p>
            <a:pPr lvl="0"/>
            <a:r>
              <a:rPr lang="en-US" noProof="0"/>
              <a:t>Chapter</a:t>
            </a:r>
            <a:endParaRPr lang="en-US" noProof="0" dirty="0"/>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bwMode="gray">
          <a:xfrm>
            <a:off x="6192838" y="3292536"/>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bwMode="gray">
          <a:xfrm>
            <a:off x="6192838" y="3805133"/>
            <a:ext cx="5618162" cy="242597"/>
          </a:xfrm>
        </p:spPr>
        <p:txBody>
          <a:bodyPr/>
          <a:lstStyle>
            <a:lvl1pPr marL="719138" indent="-719138">
              <a:buFont typeface="+mj-lt"/>
              <a:buAutoNum type="arabicPeriod" startAt="4"/>
              <a:defRPr>
                <a:solidFill>
                  <a:schemeClr val="bg1"/>
                </a:solidFill>
                <a:latin typeface="+mj-lt"/>
              </a:defRPr>
            </a:lvl1pPr>
          </a:lstStyle>
          <a:p>
            <a:pPr lvl="0"/>
            <a:r>
              <a:rPr lang="en-US" noProof="0"/>
              <a:t>Chapter</a:t>
            </a:r>
            <a:endParaRPr lang="en-US" noProof="0" dirty="0"/>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bwMode="gray">
          <a:xfrm>
            <a:off x="6192838" y="4047730"/>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bwMode="gray">
          <a:xfrm>
            <a:off x="6192838" y="4560327"/>
            <a:ext cx="5618162" cy="242597"/>
          </a:xfrm>
        </p:spPr>
        <p:txBody>
          <a:bodyPr/>
          <a:lstStyle>
            <a:lvl1pPr marL="719138" indent="-719138">
              <a:buFont typeface="+mj-lt"/>
              <a:buAutoNum type="arabicPeriod" startAt="5"/>
              <a:defRPr>
                <a:solidFill>
                  <a:schemeClr val="bg1"/>
                </a:solidFill>
                <a:latin typeface="+mj-lt"/>
              </a:defRPr>
            </a:lvl1pPr>
          </a:lstStyle>
          <a:p>
            <a:pPr lvl="0"/>
            <a:r>
              <a:rPr lang="en-US" noProof="0" dirty="0"/>
              <a:t>Chapter</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bwMode="gray">
          <a:xfrm>
            <a:off x="6192838" y="4802924"/>
            <a:ext cx="5618162" cy="242597"/>
          </a:xfrm>
        </p:spPr>
        <p:txBody>
          <a:bodyPr tIns="36000"/>
          <a:lstStyle>
            <a:lvl1pPr marL="719138" indent="0">
              <a:buNone/>
              <a:defRPr>
                <a:solidFill>
                  <a:schemeClr val="bg1"/>
                </a:solidFill>
              </a:defRPr>
            </a:lvl1pPr>
          </a:lstStyle>
          <a:p>
            <a:pPr lvl="0"/>
            <a:r>
              <a:rPr lang="en-US" noProof="0"/>
              <a:t>Lorem</a:t>
            </a:r>
            <a:endParaRPr lang="en-US" noProof="0" dirty="0"/>
          </a:p>
        </p:txBody>
      </p:sp>
      <p:grpSp>
        <p:nvGrpSpPr>
          <p:cNvPr id="4" name="object 8">
            <a:extLst>
              <a:ext uri="{FF2B5EF4-FFF2-40B4-BE49-F238E27FC236}">
                <a16:creationId xmlns:a16="http://schemas.microsoft.com/office/drawing/2014/main" id="{949C3A63-EB55-D052-C410-A7B92AE0EDD1}"/>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85B7FE7-797E-FF41-129C-ECFC448A3C1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dirty="0"/>
            </a:p>
          </p:txBody>
        </p:sp>
        <p:sp>
          <p:nvSpPr>
            <p:cNvPr id="6" name="object 10">
              <a:extLst>
                <a:ext uri="{FF2B5EF4-FFF2-40B4-BE49-F238E27FC236}">
                  <a16:creationId xmlns:a16="http://schemas.microsoft.com/office/drawing/2014/main" id="{F02F7F51-81B6-21CA-E422-92B338F370F0}"/>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dirty="0"/>
            </a:p>
          </p:txBody>
        </p:sp>
        <p:sp>
          <p:nvSpPr>
            <p:cNvPr id="8" name="object 11">
              <a:extLst>
                <a:ext uri="{FF2B5EF4-FFF2-40B4-BE49-F238E27FC236}">
                  <a16:creationId xmlns:a16="http://schemas.microsoft.com/office/drawing/2014/main" id="{8C0DF89F-1B6E-855D-0A02-348B4211F5B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dirty="0"/>
            </a:p>
          </p:txBody>
        </p:sp>
      </p:grpSp>
      <p:sp>
        <p:nvSpPr>
          <p:cNvPr id="18" name="Slide Number Placeholder 17">
            <a:extLst>
              <a:ext uri="{FF2B5EF4-FFF2-40B4-BE49-F238E27FC236}">
                <a16:creationId xmlns:a16="http://schemas.microsoft.com/office/drawing/2014/main" id="{6407C056-CAD0-B286-16CA-B99087D934F1}"/>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dirty="0"/>
          </a:p>
        </p:txBody>
      </p:sp>
      <p:sp>
        <p:nvSpPr>
          <p:cNvPr id="3" name="Bildplatzhalter 19">
            <a:extLst>
              <a:ext uri="{FF2B5EF4-FFF2-40B4-BE49-F238E27FC236}">
                <a16:creationId xmlns:a16="http://schemas.microsoft.com/office/drawing/2014/main" id="{DEA2C556-2D07-6171-F630-DE4FF5E4CE10}"/>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pic>
        <p:nvPicPr>
          <p:cNvPr id="31" name="Picture 30">
            <a:extLst>
              <a:ext uri="{FF2B5EF4-FFF2-40B4-BE49-F238E27FC236}">
                <a16:creationId xmlns:a16="http://schemas.microsoft.com/office/drawing/2014/main" id="{258D1F33-A3FA-4472-98B7-20D358D29886}"/>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0956743" y="5377821"/>
            <a:ext cx="1132513" cy="662413"/>
          </a:xfrm>
          <a:prstGeom prst="rect">
            <a:avLst/>
          </a:prstGeom>
          <a:solidFill>
            <a:schemeClr val="bg1"/>
          </a:solidFill>
        </p:spPr>
      </p:pic>
    </p:spTree>
    <p:extLst>
      <p:ext uri="{BB962C8B-B14F-4D97-AF65-F5344CB8AC3E}">
        <p14:creationId xmlns:p14="http://schemas.microsoft.com/office/powerpoint/2010/main" val="28402904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Blank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476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365621C1-C6DC-B27C-3DDA-A3856D50BD22}"/>
              </a:ext>
            </a:extLst>
          </p:cNvPr>
          <p:cNvSpPr>
            <a:spLocks noGrp="1"/>
          </p:cNvSpPr>
          <p:nvPr>
            <p:ph type="pic" sz="quarter" idx="36" hasCustomPrompt="1"/>
          </p:nvPr>
        </p:nvSpPr>
        <p:spPr>
          <a:xfrm>
            <a:off x="0" y="-308474"/>
            <a:ext cx="12192000" cy="7166473"/>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10" name="Text Placeholder 12">
            <a:extLst>
              <a:ext uri="{FF2B5EF4-FFF2-40B4-BE49-F238E27FC236}">
                <a16:creationId xmlns:a16="http://schemas.microsoft.com/office/drawing/2014/main" id="{81208EA0-E7A9-81F6-5763-2A3543A06056}"/>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a:t>Click to edit Master text styles</a:t>
            </a:r>
          </a:p>
        </p:txBody>
      </p:sp>
      <p:sp>
        <p:nvSpPr>
          <p:cNvPr id="14" name="Text Placeholder 13">
            <a:extLst>
              <a:ext uri="{FF2B5EF4-FFF2-40B4-BE49-F238E27FC236}">
                <a16:creationId xmlns:a16="http://schemas.microsoft.com/office/drawing/2014/main" id="{DAA3A9CE-5368-A524-34A3-140952EB9AA2}"/>
              </a:ext>
            </a:extLst>
          </p:cNvPr>
          <p:cNvSpPr>
            <a:spLocks noGrp="1"/>
          </p:cNvSpPr>
          <p:nvPr>
            <p:ph type="body" sz="quarter" idx="39"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graphicFrame>
        <p:nvGraphicFramePr>
          <p:cNvPr id="4" name="Object 3" hidden="1">
            <a:extLst>
              <a:ext uri="{FF2B5EF4-FFF2-40B4-BE49-F238E27FC236}">
                <a16:creationId xmlns:a16="http://schemas.microsoft.com/office/drawing/2014/main" id="{008DA4DD-D292-85C2-3EDA-F44D1616094C}"/>
              </a:ext>
            </a:extLst>
          </p:cNvPr>
          <p:cNvGraphicFramePr>
            <a:graphicFrameLocks noChangeAspect="1"/>
          </p:cNvGraphicFramePr>
          <p:nvPr>
            <p:custDataLst>
              <p:tags r:id="rId1"/>
            </p:custDataLst>
            <p:extLst>
              <p:ext uri="{D42A27DB-BD31-4B8C-83A1-F6EECF244321}">
                <p14:modId xmlns:p14="http://schemas.microsoft.com/office/powerpoint/2010/main" val="426413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008DA4DD-D292-85C2-3EDA-F44D161609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Textfeld 64">
            <a:extLst>
              <a:ext uri="{FF2B5EF4-FFF2-40B4-BE49-F238E27FC236}">
                <a16:creationId xmlns:a16="http://schemas.microsoft.com/office/drawing/2014/main" id="{A6A875DC-6707-9BE3-0EFB-142B3C254312}"/>
              </a:ext>
            </a:extLst>
          </p:cNvPr>
          <p:cNvSpPr txBox="1"/>
          <p:nvPr/>
        </p:nvSpPr>
        <p:spPr bwMode="gray">
          <a:xfrm>
            <a:off x="388615" y="6377271"/>
            <a:ext cx="1293822" cy="123111"/>
          </a:xfrm>
          <a:prstGeom prst="rect">
            <a:avLst/>
          </a:prstGeom>
          <a:noFill/>
        </p:spPr>
        <p:txBody>
          <a:bodyPr wrap="square" lIns="0" tIns="0" rIns="0" bIns="0" rtlCol="0">
            <a:spAutoFit/>
          </a:bodyPr>
          <a:lstStyle/>
          <a:p>
            <a:r>
              <a:rPr lang="en-US" sz="800" noProof="0">
                <a:solidFill>
                  <a:schemeClr val="bg1"/>
                </a:solidFill>
                <a:latin typeface="+mj-lt"/>
              </a:rPr>
              <a:t>Heidelberg Materials</a:t>
            </a:r>
            <a:endParaRPr lang="en-US" sz="800" noProof="0" dirty="0">
              <a:solidFill>
                <a:schemeClr val="bg1"/>
              </a:solidFill>
              <a:latin typeface="+mj-lt"/>
            </a:endParaRPr>
          </a:p>
        </p:txBody>
      </p:sp>
      <p:sp>
        <p:nvSpPr>
          <p:cNvPr id="3" name="Titel 57">
            <a:extLst>
              <a:ext uri="{FF2B5EF4-FFF2-40B4-BE49-F238E27FC236}">
                <a16:creationId xmlns:a16="http://schemas.microsoft.com/office/drawing/2014/main" id="{0BC56700-C5B2-CB6A-EC6B-F1ABD8FF5D03}"/>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dirty="0"/>
              <a:t>Presentation title</a:t>
            </a:r>
          </a:p>
        </p:txBody>
      </p:sp>
      <p:sp>
        <p:nvSpPr>
          <p:cNvPr id="11" name="Datumsplatzhalter 58">
            <a:extLst>
              <a:ext uri="{FF2B5EF4-FFF2-40B4-BE49-F238E27FC236}">
                <a16:creationId xmlns:a16="http://schemas.microsoft.com/office/drawing/2014/main" id="{EF613187-CC24-786E-B648-3774A8C96773}"/>
              </a:ext>
            </a:extLst>
          </p:cNvPr>
          <p:cNvSpPr>
            <a:spLocks noGrp="1"/>
          </p:cNvSpPr>
          <p:nvPr>
            <p:ph type="dt" sz="half" idx="10"/>
          </p:nvPr>
        </p:nvSpPr>
        <p:spPr bwMode="gray">
          <a:xfrm>
            <a:off x="1666016" y="4341166"/>
            <a:ext cx="5322957" cy="295466"/>
          </a:xfrm>
          <a:prstGeom prst="rect">
            <a:avLst/>
          </a:prstGeom>
        </p:spPr>
        <p:txBody>
          <a:bodyPr>
            <a:spAutoFit/>
          </a:bodyPr>
          <a:lstStyle>
            <a:lvl1pPr>
              <a:defRPr sz="1200">
                <a:solidFill>
                  <a:schemeClr val="bg1"/>
                </a:solidFill>
              </a:defRPr>
            </a:lvl1pPr>
          </a:lstStyle>
          <a:p>
            <a:r>
              <a:rPr lang="en-US" noProof="0"/>
              <a:t>01.23.2023</a:t>
            </a:r>
            <a:endParaRPr lang="en-US" noProof="0" dirty="0"/>
          </a:p>
        </p:txBody>
      </p:sp>
      <p:sp>
        <p:nvSpPr>
          <p:cNvPr id="12" name="Fußzeilenplatzhalter 59">
            <a:extLst>
              <a:ext uri="{FF2B5EF4-FFF2-40B4-BE49-F238E27FC236}">
                <a16:creationId xmlns:a16="http://schemas.microsoft.com/office/drawing/2014/main" id="{AE00E287-26F7-61E0-794E-841FDBE98CE9}"/>
              </a:ext>
            </a:extLst>
          </p:cNvPr>
          <p:cNvSpPr>
            <a:spLocks noGrp="1"/>
          </p:cNvSpPr>
          <p:nvPr>
            <p:ph type="ftr" sz="quarter" idx="11"/>
          </p:nvPr>
        </p:nvSpPr>
        <p:spPr bwMode="gray">
          <a:xfrm>
            <a:off x="1666016" y="3983600"/>
            <a:ext cx="5322957"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
        <p:nvSpPr>
          <p:cNvPr id="2" name="Text Placeholder 9">
            <a:extLst>
              <a:ext uri="{FF2B5EF4-FFF2-40B4-BE49-F238E27FC236}">
                <a16:creationId xmlns:a16="http://schemas.microsoft.com/office/drawing/2014/main" id="{DCAA3493-891E-B696-F411-ED4ECC1CF6A8}"/>
              </a:ext>
            </a:extLst>
          </p:cNvPr>
          <p:cNvSpPr>
            <a:spLocks noGrp="1"/>
          </p:cNvSpPr>
          <p:nvPr>
            <p:ph type="body" sz="quarter" idx="19" hasCustomPrompt="1"/>
          </p:nvPr>
        </p:nvSpPr>
        <p:spPr>
          <a:xfrm>
            <a:off x="11295111" y="5981426"/>
            <a:ext cx="508274" cy="508274"/>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dirty="0"/>
              <a:t> </a:t>
            </a:r>
            <a:endParaRPr lang="en-US" dirty="0"/>
          </a:p>
        </p:txBody>
      </p:sp>
      <p:pic>
        <p:nvPicPr>
          <p:cNvPr id="13" name="Graphic 12">
            <a:extLst>
              <a:ext uri="{FF2B5EF4-FFF2-40B4-BE49-F238E27FC236}">
                <a16:creationId xmlns:a16="http://schemas.microsoft.com/office/drawing/2014/main" id="{C2167F81-FD67-43AE-A769-2B196A53A67F}"/>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515" y="6410506"/>
            <a:ext cx="1062384" cy="103228"/>
          </a:xfrm>
          <a:prstGeom prst="rect">
            <a:avLst/>
          </a:prstGeom>
        </p:spPr>
      </p:pic>
      <p:sp>
        <p:nvSpPr>
          <p:cNvPr id="15" name="Textfeld 8">
            <a:extLst>
              <a:ext uri="{FF2B5EF4-FFF2-40B4-BE49-F238E27FC236}">
                <a16:creationId xmlns:a16="http://schemas.microsoft.com/office/drawing/2014/main" id="{5B892B30-B8C4-464C-96BC-897BF5D5A370}"/>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6" name="Textfeld 8">
            <a:extLst>
              <a:ext uri="{FF2B5EF4-FFF2-40B4-BE49-F238E27FC236}">
                <a16:creationId xmlns:a16="http://schemas.microsoft.com/office/drawing/2014/main" id="{98266075-7900-4B07-9532-A9B26350AA15}"/>
              </a:ext>
            </a:extLst>
          </p:cNvPr>
          <p:cNvSpPr txBox="1"/>
          <p:nvPr userDrawn="1"/>
        </p:nvSpPr>
        <p:spPr>
          <a:xfrm>
            <a:off x="2472508"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solidFill>
                <a:latin typeface="+mn-lt"/>
                <a:ea typeface="+mn-ea"/>
                <a:cs typeface="Calibri Light" panose="020F0302020204030204" pitchFamily="34" charset="0"/>
              </a:rPr>
              <a:t>mm.dd.yyyy</a:t>
            </a:r>
            <a:endParaRPr lang="en-US" sz="800" kern="1200" noProof="0" dirty="0">
              <a:solidFill>
                <a:schemeClr val="tx1"/>
              </a:solidFill>
              <a:latin typeface="+mn-lt"/>
              <a:ea typeface="+mn-ea"/>
              <a:cs typeface="Calibri Light" panose="020F0302020204030204" pitchFamily="34" charset="0"/>
            </a:endParaRPr>
          </a:p>
        </p:txBody>
      </p:sp>
    </p:spTree>
    <p:extLst>
      <p:ext uri="{BB962C8B-B14F-4D97-AF65-F5344CB8AC3E}">
        <p14:creationId xmlns:p14="http://schemas.microsoft.com/office/powerpoint/2010/main" val="24749931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grpSp>
        <p:nvGrpSpPr>
          <p:cNvPr id="10" name="Google Shape;10;p2"/>
          <p:cNvGrpSpPr/>
          <p:nvPr/>
        </p:nvGrpSpPr>
        <p:grpSpPr>
          <a:xfrm>
            <a:off x="-159" y="-267"/>
            <a:ext cx="12191761" cy="6857181"/>
            <a:chOff x="2973586" y="5250656"/>
            <a:chExt cx="2856819" cy="1606800"/>
          </a:xfrm>
        </p:grpSpPr>
        <p:sp>
          <p:nvSpPr>
            <p:cNvPr id="11" name="Google Shape;11;p2"/>
            <p:cNvSpPr/>
            <p:nvPr/>
          </p:nvSpPr>
          <p:spPr>
            <a:xfrm>
              <a:off x="2973586" y="6221960"/>
              <a:ext cx="2856819" cy="635496"/>
            </a:xfrm>
            <a:custGeom>
              <a:avLst/>
              <a:gdLst/>
              <a:ahLst/>
              <a:cxnLst/>
              <a:rect l="l" t="t" r="r" b="b"/>
              <a:pathLst>
                <a:path w="2856819" h="635496" extrusionOk="0">
                  <a:moveTo>
                    <a:pt x="0" y="636040"/>
                  </a:moveTo>
                  <a:lnTo>
                    <a:pt x="2856819" y="636040"/>
                  </a:lnTo>
                  <a:lnTo>
                    <a:pt x="2856819" y="0"/>
                  </a:lnTo>
                  <a:lnTo>
                    <a:pt x="0" y="503857"/>
                  </a:lnTo>
                  <a:lnTo>
                    <a:pt x="0" y="63604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 name="Google Shape;12;p2"/>
            <p:cNvSpPr/>
            <p:nvPr/>
          </p:nvSpPr>
          <p:spPr>
            <a:xfrm>
              <a:off x="2973586" y="6067738"/>
              <a:ext cx="642784" cy="385464"/>
            </a:xfrm>
            <a:custGeom>
              <a:avLst/>
              <a:gdLst/>
              <a:ahLst/>
              <a:cxnLst/>
              <a:rect l="l" t="t" r="r" b="b"/>
              <a:pathLst>
                <a:path w="642784" h="385464" extrusionOk="0">
                  <a:moveTo>
                    <a:pt x="0" y="113368"/>
                  </a:moveTo>
                  <a:lnTo>
                    <a:pt x="0" y="385724"/>
                  </a:lnTo>
                  <a:lnTo>
                    <a:pt x="642784" y="272355"/>
                  </a:lnTo>
                  <a:lnTo>
                    <a:pt x="642784" y="0"/>
                  </a:lnTo>
                  <a:lnTo>
                    <a:pt x="0" y="113368"/>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p:nvPr/>
          </p:nvSpPr>
          <p:spPr>
            <a:xfrm>
              <a:off x="3378302" y="5250656"/>
              <a:ext cx="1781048" cy="314027"/>
            </a:xfrm>
            <a:custGeom>
              <a:avLst/>
              <a:gdLst/>
              <a:ahLst/>
              <a:cxnLst/>
              <a:rect l="l" t="t" r="r" b="b"/>
              <a:pathLst>
                <a:path w="1781048" h="314027" extrusionOk="0">
                  <a:moveTo>
                    <a:pt x="238155" y="0"/>
                  </a:moveTo>
                  <a:lnTo>
                    <a:pt x="0" y="42004"/>
                  </a:lnTo>
                  <a:lnTo>
                    <a:pt x="0" y="314359"/>
                  </a:lnTo>
                  <a:lnTo>
                    <a:pt x="1782389" y="0"/>
                  </a:lnTo>
                  <a:lnTo>
                    <a:pt x="23815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4" name="Google Shape;14;p2"/>
            <p:cNvSpPr/>
            <p:nvPr/>
          </p:nvSpPr>
          <p:spPr>
            <a:xfrm>
              <a:off x="4790344" y="5404894"/>
              <a:ext cx="1040060" cy="455414"/>
            </a:xfrm>
            <a:custGeom>
              <a:avLst/>
              <a:gdLst/>
              <a:ahLst/>
              <a:cxnLst/>
              <a:rect l="l" t="t" r="r" b="b"/>
              <a:pathLst>
                <a:path w="1040060" h="455414" extrusionOk="0">
                  <a:moveTo>
                    <a:pt x="1040061" y="0"/>
                  </a:moveTo>
                  <a:lnTo>
                    <a:pt x="0" y="184194"/>
                  </a:lnTo>
                  <a:lnTo>
                    <a:pt x="0" y="456550"/>
                  </a:lnTo>
                  <a:lnTo>
                    <a:pt x="1040061" y="272355"/>
                  </a:lnTo>
                  <a:lnTo>
                    <a:pt x="1040061"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5" name="Google Shape;15;p2"/>
            <p:cNvSpPr/>
            <p:nvPr/>
          </p:nvSpPr>
          <p:spPr>
            <a:xfrm>
              <a:off x="2973586" y="6263466"/>
              <a:ext cx="1077258" cy="461367"/>
            </a:xfrm>
            <a:custGeom>
              <a:avLst/>
              <a:gdLst/>
              <a:ahLst/>
              <a:cxnLst/>
              <a:rect l="l" t="t" r="r" b="b"/>
              <a:pathLst>
                <a:path w="1077258" h="461367" extrusionOk="0">
                  <a:moveTo>
                    <a:pt x="0" y="189996"/>
                  </a:moveTo>
                  <a:lnTo>
                    <a:pt x="0" y="462351"/>
                  </a:lnTo>
                  <a:lnTo>
                    <a:pt x="1077259" y="272355"/>
                  </a:lnTo>
                  <a:lnTo>
                    <a:pt x="1077259" y="0"/>
                  </a:lnTo>
                  <a:lnTo>
                    <a:pt x="0" y="189996"/>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6" name="Google Shape;16;p2"/>
            <p:cNvSpPr/>
            <p:nvPr/>
          </p:nvSpPr>
          <p:spPr>
            <a:xfrm>
              <a:off x="5531332" y="5949605"/>
              <a:ext cx="299073" cy="324445"/>
            </a:xfrm>
            <a:custGeom>
              <a:avLst/>
              <a:gdLst/>
              <a:ahLst/>
              <a:cxnLst/>
              <a:rect l="l" t="t" r="r" b="b"/>
              <a:pathLst>
                <a:path w="299073" h="324445" extrusionOk="0">
                  <a:moveTo>
                    <a:pt x="299073" y="0"/>
                  </a:moveTo>
                  <a:lnTo>
                    <a:pt x="0" y="52748"/>
                  </a:lnTo>
                  <a:lnTo>
                    <a:pt x="0" y="325103"/>
                  </a:lnTo>
                  <a:lnTo>
                    <a:pt x="299073" y="272355"/>
                  </a:lnTo>
                  <a:lnTo>
                    <a:pt x="299073"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7" name="Google Shape;17;p2"/>
            <p:cNvSpPr/>
            <p:nvPr/>
          </p:nvSpPr>
          <p:spPr>
            <a:xfrm>
              <a:off x="3613394" y="5425142"/>
              <a:ext cx="557972" cy="370582"/>
            </a:xfrm>
            <a:custGeom>
              <a:avLst/>
              <a:gdLst/>
              <a:ahLst/>
              <a:cxnLst/>
              <a:rect l="l" t="t" r="r" b="b"/>
              <a:pathLst>
                <a:path w="557972" h="370582" extrusionOk="0">
                  <a:moveTo>
                    <a:pt x="0" y="98410"/>
                  </a:moveTo>
                  <a:lnTo>
                    <a:pt x="0" y="370765"/>
                  </a:lnTo>
                  <a:lnTo>
                    <a:pt x="557973" y="272355"/>
                  </a:lnTo>
                  <a:lnTo>
                    <a:pt x="557973" y="0"/>
                  </a:lnTo>
                  <a:lnTo>
                    <a:pt x="0" y="9841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8" name="Google Shape;18;p2"/>
            <p:cNvSpPr/>
            <p:nvPr/>
          </p:nvSpPr>
          <p:spPr>
            <a:xfrm>
              <a:off x="5636975" y="5677250"/>
              <a:ext cx="193430" cy="305097"/>
            </a:xfrm>
            <a:custGeom>
              <a:avLst/>
              <a:gdLst/>
              <a:ahLst/>
              <a:cxnLst/>
              <a:rect l="l" t="t" r="r" b="b"/>
              <a:pathLst>
                <a:path w="193430" h="305097" extrusionOk="0">
                  <a:moveTo>
                    <a:pt x="193430" y="0"/>
                  </a:moveTo>
                  <a:lnTo>
                    <a:pt x="0" y="34116"/>
                  </a:lnTo>
                  <a:lnTo>
                    <a:pt x="0" y="306471"/>
                  </a:lnTo>
                  <a:lnTo>
                    <a:pt x="193430" y="272355"/>
                  </a:lnTo>
                  <a:lnTo>
                    <a:pt x="19343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19" name="Google Shape;19;p2"/>
          <p:cNvSpPr txBox="1">
            <a:spLocks noGrp="1"/>
          </p:cNvSpPr>
          <p:nvPr>
            <p:ph type="ctrTitle" hasCustomPrompt="1"/>
          </p:nvPr>
        </p:nvSpPr>
        <p:spPr>
          <a:xfrm>
            <a:off x="609600" y="1065700"/>
            <a:ext cx="7315200" cy="4242800"/>
          </a:xfrm>
          <a:prstGeom prst="rect">
            <a:avLst/>
          </a:prstGeom>
        </p:spPr>
        <p:txBody>
          <a:bodyPr spcFirstLastPara="1" wrap="square" lIns="0" tIns="0" rIns="0" bIns="0" anchor="t" anchorCtr="0">
            <a:noAutofit/>
          </a:bodyPr>
          <a:lstStyle>
            <a:lvl1pPr lvl="0">
              <a:spcBef>
                <a:spcPts val="0"/>
              </a:spcBef>
              <a:spcAft>
                <a:spcPts val="0"/>
              </a:spcAft>
              <a:buSzPts val="5800"/>
              <a:buNone/>
              <a:defRPr sz="7733">
                <a:latin typeface="Franklin Gothic Medium" panose="020B0603020102020204" pitchFamily="34" charset="0"/>
              </a:defRPr>
            </a:lvl1pPr>
            <a:lvl2pPr lvl="1">
              <a:spcBef>
                <a:spcPts val="0"/>
              </a:spcBef>
              <a:spcAft>
                <a:spcPts val="0"/>
              </a:spcAft>
              <a:buSzPts val="5800"/>
              <a:buNone/>
              <a:defRPr sz="7733"/>
            </a:lvl2pPr>
            <a:lvl3pPr lvl="2">
              <a:spcBef>
                <a:spcPts val="0"/>
              </a:spcBef>
              <a:spcAft>
                <a:spcPts val="0"/>
              </a:spcAft>
              <a:buSzPts val="5800"/>
              <a:buNone/>
              <a:defRPr sz="7733"/>
            </a:lvl3pPr>
            <a:lvl4pPr lvl="3">
              <a:spcBef>
                <a:spcPts val="0"/>
              </a:spcBef>
              <a:spcAft>
                <a:spcPts val="0"/>
              </a:spcAft>
              <a:buSzPts val="5800"/>
              <a:buNone/>
              <a:defRPr sz="7733"/>
            </a:lvl4pPr>
            <a:lvl5pPr lvl="4">
              <a:spcBef>
                <a:spcPts val="0"/>
              </a:spcBef>
              <a:spcAft>
                <a:spcPts val="0"/>
              </a:spcAft>
              <a:buSzPts val="5800"/>
              <a:buNone/>
              <a:defRPr sz="7733"/>
            </a:lvl5pPr>
            <a:lvl6pPr lvl="5">
              <a:spcBef>
                <a:spcPts val="0"/>
              </a:spcBef>
              <a:spcAft>
                <a:spcPts val="0"/>
              </a:spcAft>
              <a:buSzPts val="5800"/>
              <a:buNone/>
              <a:defRPr sz="7733"/>
            </a:lvl6pPr>
            <a:lvl7pPr lvl="6">
              <a:spcBef>
                <a:spcPts val="0"/>
              </a:spcBef>
              <a:spcAft>
                <a:spcPts val="0"/>
              </a:spcAft>
              <a:buSzPts val="5800"/>
              <a:buNone/>
              <a:defRPr sz="7733"/>
            </a:lvl7pPr>
            <a:lvl8pPr lvl="7">
              <a:spcBef>
                <a:spcPts val="0"/>
              </a:spcBef>
              <a:spcAft>
                <a:spcPts val="0"/>
              </a:spcAft>
              <a:buSzPts val="5800"/>
              <a:buNone/>
              <a:defRPr sz="7733"/>
            </a:lvl8pPr>
            <a:lvl9pPr lvl="8">
              <a:spcBef>
                <a:spcPts val="0"/>
              </a:spcBef>
              <a:spcAft>
                <a:spcPts val="0"/>
              </a:spcAft>
              <a:buSzPts val="5800"/>
              <a:buNone/>
              <a:defRPr sz="7733"/>
            </a:lvl9pPr>
          </a:lstStyle>
          <a:p>
            <a:r>
              <a:rPr lang="en-US">
                <a:latin typeface="Franklin Gothic Medium" panose="020B0603020102020204" pitchFamily="34" charset="0"/>
              </a:rPr>
              <a:t>Title</a:t>
            </a:r>
            <a:endParaRPr/>
          </a:p>
        </p:txBody>
      </p:sp>
      <p:pic>
        <p:nvPicPr>
          <p:cNvPr id="20" name="Picture 19">
            <a:extLst>
              <a:ext uri="{FF2B5EF4-FFF2-40B4-BE49-F238E27FC236}">
                <a16:creationId xmlns:a16="http://schemas.microsoft.com/office/drawing/2014/main" id="{CDEB7FAB-DAFC-E075-D55F-FF308282E5A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307573" y="4467820"/>
            <a:ext cx="3771417" cy="2205923"/>
          </a:xfrm>
          <a:prstGeom prst="rect">
            <a:avLst/>
          </a:prstGeom>
        </p:spPr>
      </p:pic>
    </p:spTree>
    <p:extLst>
      <p:ext uri="{BB962C8B-B14F-4D97-AF65-F5344CB8AC3E}">
        <p14:creationId xmlns:p14="http://schemas.microsoft.com/office/powerpoint/2010/main" val="19414758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20"/>
        <p:cNvGrpSpPr/>
        <p:nvPr/>
      </p:nvGrpSpPr>
      <p:grpSpPr>
        <a:xfrm>
          <a:off x="0" y="0"/>
          <a:ext cx="0" cy="0"/>
          <a:chOff x="0" y="0"/>
          <a:chExt cx="0" cy="0"/>
        </a:xfrm>
      </p:grpSpPr>
      <p:grpSp>
        <p:nvGrpSpPr>
          <p:cNvPr id="21" name="Google Shape;21;p3"/>
          <p:cNvGrpSpPr/>
          <p:nvPr/>
        </p:nvGrpSpPr>
        <p:grpSpPr>
          <a:xfrm>
            <a:off x="-159" y="-267"/>
            <a:ext cx="12191761" cy="6857181"/>
            <a:chOff x="2973586" y="5250656"/>
            <a:chExt cx="2856819" cy="1606800"/>
          </a:xfrm>
        </p:grpSpPr>
        <p:sp>
          <p:nvSpPr>
            <p:cNvPr id="22" name="Google Shape;22;p3"/>
            <p:cNvSpPr/>
            <p:nvPr/>
          </p:nvSpPr>
          <p:spPr>
            <a:xfrm>
              <a:off x="2973586" y="6221960"/>
              <a:ext cx="2856819" cy="635496"/>
            </a:xfrm>
            <a:custGeom>
              <a:avLst/>
              <a:gdLst/>
              <a:ahLst/>
              <a:cxnLst/>
              <a:rect l="l" t="t" r="r" b="b"/>
              <a:pathLst>
                <a:path w="2856819" h="635496" extrusionOk="0">
                  <a:moveTo>
                    <a:pt x="0" y="636040"/>
                  </a:moveTo>
                  <a:lnTo>
                    <a:pt x="2856819" y="636040"/>
                  </a:lnTo>
                  <a:lnTo>
                    <a:pt x="2856819" y="0"/>
                  </a:lnTo>
                  <a:lnTo>
                    <a:pt x="0" y="503857"/>
                  </a:lnTo>
                  <a:lnTo>
                    <a:pt x="0" y="63604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3" name="Google Shape;23;p3"/>
            <p:cNvSpPr/>
            <p:nvPr/>
          </p:nvSpPr>
          <p:spPr>
            <a:xfrm>
              <a:off x="2973586" y="6067738"/>
              <a:ext cx="642784" cy="385464"/>
            </a:xfrm>
            <a:custGeom>
              <a:avLst/>
              <a:gdLst/>
              <a:ahLst/>
              <a:cxnLst/>
              <a:rect l="l" t="t" r="r" b="b"/>
              <a:pathLst>
                <a:path w="642784" h="385464" extrusionOk="0">
                  <a:moveTo>
                    <a:pt x="0" y="113368"/>
                  </a:moveTo>
                  <a:lnTo>
                    <a:pt x="0" y="385724"/>
                  </a:lnTo>
                  <a:lnTo>
                    <a:pt x="642784" y="272355"/>
                  </a:lnTo>
                  <a:lnTo>
                    <a:pt x="642784" y="0"/>
                  </a:lnTo>
                  <a:lnTo>
                    <a:pt x="0" y="113368"/>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4" name="Google Shape;24;p3"/>
            <p:cNvSpPr/>
            <p:nvPr/>
          </p:nvSpPr>
          <p:spPr>
            <a:xfrm>
              <a:off x="3378302" y="5250656"/>
              <a:ext cx="1781048" cy="314027"/>
            </a:xfrm>
            <a:custGeom>
              <a:avLst/>
              <a:gdLst/>
              <a:ahLst/>
              <a:cxnLst/>
              <a:rect l="l" t="t" r="r" b="b"/>
              <a:pathLst>
                <a:path w="1781048" h="314027" extrusionOk="0">
                  <a:moveTo>
                    <a:pt x="238155" y="0"/>
                  </a:moveTo>
                  <a:lnTo>
                    <a:pt x="0" y="42004"/>
                  </a:lnTo>
                  <a:lnTo>
                    <a:pt x="0" y="314359"/>
                  </a:lnTo>
                  <a:lnTo>
                    <a:pt x="1782389" y="0"/>
                  </a:lnTo>
                  <a:lnTo>
                    <a:pt x="23815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5" name="Google Shape;25;p3"/>
            <p:cNvSpPr/>
            <p:nvPr/>
          </p:nvSpPr>
          <p:spPr>
            <a:xfrm>
              <a:off x="4790344" y="5404894"/>
              <a:ext cx="1040060" cy="455414"/>
            </a:xfrm>
            <a:custGeom>
              <a:avLst/>
              <a:gdLst/>
              <a:ahLst/>
              <a:cxnLst/>
              <a:rect l="l" t="t" r="r" b="b"/>
              <a:pathLst>
                <a:path w="1040060" h="455414" extrusionOk="0">
                  <a:moveTo>
                    <a:pt x="1040061" y="0"/>
                  </a:moveTo>
                  <a:lnTo>
                    <a:pt x="0" y="184194"/>
                  </a:lnTo>
                  <a:lnTo>
                    <a:pt x="0" y="456550"/>
                  </a:lnTo>
                  <a:lnTo>
                    <a:pt x="1040061" y="272355"/>
                  </a:lnTo>
                  <a:lnTo>
                    <a:pt x="1040061"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6" name="Google Shape;26;p3"/>
            <p:cNvSpPr/>
            <p:nvPr/>
          </p:nvSpPr>
          <p:spPr>
            <a:xfrm>
              <a:off x="2973586" y="6263466"/>
              <a:ext cx="1077258" cy="461367"/>
            </a:xfrm>
            <a:custGeom>
              <a:avLst/>
              <a:gdLst/>
              <a:ahLst/>
              <a:cxnLst/>
              <a:rect l="l" t="t" r="r" b="b"/>
              <a:pathLst>
                <a:path w="1077258" h="461367" extrusionOk="0">
                  <a:moveTo>
                    <a:pt x="0" y="189996"/>
                  </a:moveTo>
                  <a:lnTo>
                    <a:pt x="0" y="462351"/>
                  </a:lnTo>
                  <a:lnTo>
                    <a:pt x="1077259" y="272355"/>
                  </a:lnTo>
                  <a:lnTo>
                    <a:pt x="1077259" y="0"/>
                  </a:lnTo>
                  <a:lnTo>
                    <a:pt x="0" y="189996"/>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7" name="Google Shape;27;p3"/>
            <p:cNvSpPr/>
            <p:nvPr/>
          </p:nvSpPr>
          <p:spPr>
            <a:xfrm>
              <a:off x="5531332" y="5949605"/>
              <a:ext cx="299073" cy="324445"/>
            </a:xfrm>
            <a:custGeom>
              <a:avLst/>
              <a:gdLst/>
              <a:ahLst/>
              <a:cxnLst/>
              <a:rect l="l" t="t" r="r" b="b"/>
              <a:pathLst>
                <a:path w="299073" h="324445" extrusionOk="0">
                  <a:moveTo>
                    <a:pt x="299073" y="0"/>
                  </a:moveTo>
                  <a:lnTo>
                    <a:pt x="0" y="52748"/>
                  </a:lnTo>
                  <a:lnTo>
                    <a:pt x="0" y="325103"/>
                  </a:lnTo>
                  <a:lnTo>
                    <a:pt x="299073" y="272355"/>
                  </a:lnTo>
                  <a:lnTo>
                    <a:pt x="299073"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8" name="Google Shape;28;p3"/>
            <p:cNvSpPr/>
            <p:nvPr/>
          </p:nvSpPr>
          <p:spPr>
            <a:xfrm>
              <a:off x="3613394" y="5425142"/>
              <a:ext cx="557972" cy="370582"/>
            </a:xfrm>
            <a:custGeom>
              <a:avLst/>
              <a:gdLst/>
              <a:ahLst/>
              <a:cxnLst/>
              <a:rect l="l" t="t" r="r" b="b"/>
              <a:pathLst>
                <a:path w="557972" h="370582" extrusionOk="0">
                  <a:moveTo>
                    <a:pt x="0" y="98410"/>
                  </a:moveTo>
                  <a:lnTo>
                    <a:pt x="0" y="370765"/>
                  </a:lnTo>
                  <a:lnTo>
                    <a:pt x="557973" y="272355"/>
                  </a:lnTo>
                  <a:lnTo>
                    <a:pt x="557973" y="0"/>
                  </a:lnTo>
                  <a:lnTo>
                    <a:pt x="0" y="9841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9" name="Google Shape;29;p3"/>
            <p:cNvSpPr/>
            <p:nvPr/>
          </p:nvSpPr>
          <p:spPr>
            <a:xfrm>
              <a:off x="5636975" y="5677250"/>
              <a:ext cx="193430" cy="305097"/>
            </a:xfrm>
            <a:custGeom>
              <a:avLst/>
              <a:gdLst/>
              <a:ahLst/>
              <a:cxnLst/>
              <a:rect l="l" t="t" r="r" b="b"/>
              <a:pathLst>
                <a:path w="193430" h="305097" extrusionOk="0">
                  <a:moveTo>
                    <a:pt x="193430" y="0"/>
                  </a:moveTo>
                  <a:lnTo>
                    <a:pt x="0" y="34116"/>
                  </a:lnTo>
                  <a:lnTo>
                    <a:pt x="0" y="306471"/>
                  </a:lnTo>
                  <a:lnTo>
                    <a:pt x="193430" y="272355"/>
                  </a:lnTo>
                  <a:lnTo>
                    <a:pt x="19343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30" name="Google Shape;30;p3"/>
          <p:cNvSpPr txBox="1">
            <a:spLocks noGrp="1"/>
          </p:cNvSpPr>
          <p:nvPr>
            <p:ph type="ctrTitle"/>
          </p:nvPr>
        </p:nvSpPr>
        <p:spPr>
          <a:xfrm>
            <a:off x="609600" y="1907933"/>
            <a:ext cx="7315200" cy="1546400"/>
          </a:xfrm>
          <a:prstGeom prst="rect">
            <a:avLst/>
          </a:prstGeom>
        </p:spPr>
        <p:txBody>
          <a:bodyPr spcFirstLastPara="1" wrap="square" lIns="0" tIns="0" rIns="0" bIns="0" anchor="ctr" anchorCtr="0">
            <a:noAutofit/>
          </a:bodyPr>
          <a:lstStyle>
            <a:lvl1pPr lvl="0" rtl="0">
              <a:spcBef>
                <a:spcPts val="0"/>
              </a:spcBef>
              <a:spcAft>
                <a:spcPts val="0"/>
              </a:spcAft>
              <a:buSzPts val="4400"/>
              <a:buNone/>
              <a:defRPr sz="5867">
                <a:latin typeface="Franklin Gothic Medium" panose="020B0603020102020204" pitchFamily="34" charset="0"/>
              </a:defRPr>
            </a:lvl1pPr>
            <a:lvl2pPr lvl="1" rtl="0">
              <a:spcBef>
                <a:spcPts val="0"/>
              </a:spcBef>
              <a:spcAft>
                <a:spcPts val="0"/>
              </a:spcAft>
              <a:buSzPts val="4400"/>
              <a:buNone/>
              <a:defRPr sz="5867"/>
            </a:lvl2pPr>
            <a:lvl3pPr lvl="2" rtl="0">
              <a:spcBef>
                <a:spcPts val="0"/>
              </a:spcBef>
              <a:spcAft>
                <a:spcPts val="0"/>
              </a:spcAft>
              <a:buSzPts val="4400"/>
              <a:buNone/>
              <a:defRPr sz="5867"/>
            </a:lvl3pPr>
            <a:lvl4pPr lvl="3" rtl="0">
              <a:spcBef>
                <a:spcPts val="0"/>
              </a:spcBef>
              <a:spcAft>
                <a:spcPts val="0"/>
              </a:spcAft>
              <a:buSzPts val="4400"/>
              <a:buNone/>
              <a:defRPr sz="5867"/>
            </a:lvl4pPr>
            <a:lvl5pPr lvl="4" rtl="0">
              <a:spcBef>
                <a:spcPts val="0"/>
              </a:spcBef>
              <a:spcAft>
                <a:spcPts val="0"/>
              </a:spcAft>
              <a:buSzPts val="4400"/>
              <a:buNone/>
              <a:defRPr sz="5867"/>
            </a:lvl5pPr>
            <a:lvl6pPr lvl="5" rtl="0">
              <a:spcBef>
                <a:spcPts val="0"/>
              </a:spcBef>
              <a:spcAft>
                <a:spcPts val="0"/>
              </a:spcAft>
              <a:buSzPts val="4400"/>
              <a:buNone/>
              <a:defRPr sz="5867"/>
            </a:lvl6pPr>
            <a:lvl7pPr lvl="6" rtl="0">
              <a:spcBef>
                <a:spcPts val="0"/>
              </a:spcBef>
              <a:spcAft>
                <a:spcPts val="0"/>
              </a:spcAft>
              <a:buSzPts val="4400"/>
              <a:buNone/>
              <a:defRPr sz="5867"/>
            </a:lvl7pPr>
            <a:lvl8pPr lvl="7" rtl="0">
              <a:spcBef>
                <a:spcPts val="0"/>
              </a:spcBef>
              <a:spcAft>
                <a:spcPts val="0"/>
              </a:spcAft>
              <a:buSzPts val="4400"/>
              <a:buNone/>
              <a:defRPr sz="5867"/>
            </a:lvl8pPr>
            <a:lvl9pPr lvl="8" rtl="0">
              <a:spcBef>
                <a:spcPts val="0"/>
              </a:spcBef>
              <a:spcAft>
                <a:spcPts val="0"/>
              </a:spcAft>
              <a:buSzPts val="4400"/>
              <a:buNone/>
              <a:defRPr sz="5867"/>
            </a:lvl9pPr>
          </a:lstStyle>
          <a:p>
            <a:endParaRPr/>
          </a:p>
        </p:txBody>
      </p:sp>
      <p:sp>
        <p:nvSpPr>
          <p:cNvPr id="31" name="Google Shape;31;p3"/>
          <p:cNvSpPr txBox="1">
            <a:spLocks noGrp="1"/>
          </p:cNvSpPr>
          <p:nvPr>
            <p:ph type="subTitle" idx="1"/>
          </p:nvPr>
        </p:nvSpPr>
        <p:spPr>
          <a:xfrm>
            <a:off x="609600" y="3685136"/>
            <a:ext cx="7315200" cy="1046400"/>
          </a:xfrm>
          <a:prstGeom prst="rect">
            <a:avLst/>
          </a:prstGeom>
        </p:spPr>
        <p:txBody>
          <a:bodyPr spcFirstLastPara="1" wrap="square" lIns="0" tIns="0" rIns="0" bIns="0" anchor="t" anchorCtr="0">
            <a:noAutofit/>
          </a:bodyPr>
          <a:lstStyle>
            <a:lvl1pPr lvl="0" rtl="0">
              <a:spcBef>
                <a:spcPts val="0"/>
              </a:spcBef>
              <a:spcAft>
                <a:spcPts val="0"/>
              </a:spcAft>
              <a:buClr>
                <a:srgbClr val="FFFFFF"/>
              </a:buClr>
              <a:buSzPts val="2400"/>
              <a:buNone/>
              <a:defRPr>
                <a:solidFill>
                  <a:srgbClr val="FFFFFF"/>
                </a:solidFill>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13" name="Picture 12">
            <a:extLst>
              <a:ext uri="{FF2B5EF4-FFF2-40B4-BE49-F238E27FC236}">
                <a16:creationId xmlns:a16="http://schemas.microsoft.com/office/drawing/2014/main" id="{CF10FD7C-51DC-5275-E22F-1901C2CBD5C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307573" y="4467820"/>
            <a:ext cx="3771417" cy="2205923"/>
          </a:xfrm>
          <a:prstGeom prst="rect">
            <a:avLst/>
          </a:prstGeom>
        </p:spPr>
      </p:pic>
    </p:spTree>
    <p:extLst>
      <p:ext uri="{BB962C8B-B14F-4D97-AF65-F5344CB8AC3E}">
        <p14:creationId xmlns:p14="http://schemas.microsoft.com/office/powerpoint/2010/main" val="17750229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83"/>
        <p:cNvGrpSpPr/>
        <p:nvPr/>
      </p:nvGrpSpPr>
      <p:grpSpPr>
        <a:xfrm>
          <a:off x="0" y="0"/>
          <a:ext cx="0" cy="0"/>
          <a:chOff x="0" y="0"/>
          <a:chExt cx="0" cy="0"/>
        </a:xfrm>
      </p:grpSpPr>
      <p:grpSp>
        <p:nvGrpSpPr>
          <p:cNvPr id="84" name="Google Shape;84;p8"/>
          <p:cNvGrpSpPr/>
          <p:nvPr userDrawn="1"/>
        </p:nvGrpSpPr>
        <p:grpSpPr>
          <a:xfrm>
            <a:off x="-159" y="-141"/>
            <a:ext cx="12191761" cy="6857756"/>
            <a:chOff x="2973586" y="2777133"/>
            <a:chExt cx="2856819" cy="1606935"/>
          </a:xfrm>
        </p:grpSpPr>
        <p:sp>
          <p:nvSpPr>
            <p:cNvPr id="85" name="Google Shape;85;p8"/>
            <p:cNvSpPr/>
            <p:nvPr/>
          </p:nvSpPr>
          <p:spPr>
            <a:xfrm>
              <a:off x="2973586" y="2944901"/>
              <a:ext cx="2856819" cy="1439167"/>
            </a:xfrm>
            <a:custGeom>
              <a:avLst/>
              <a:gdLst/>
              <a:ahLst/>
              <a:cxnLst/>
              <a:rect l="l" t="t" r="r" b="b"/>
              <a:pathLst>
                <a:path w="2856819" h="1439167" extrusionOk="0">
                  <a:moveTo>
                    <a:pt x="0" y="1439576"/>
                  </a:moveTo>
                  <a:lnTo>
                    <a:pt x="2856819" y="1439576"/>
                  </a:lnTo>
                  <a:lnTo>
                    <a:pt x="2856819" y="0"/>
                  </a:lnTo>
                  <a:lnTo>
                    <a:pt x="0" y="503855"/>
                  </a:lnTo>
                  <a:lnTo>
                    <a:pt x="0" y="1439576"/>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6" name="Google Shape;86;p8"/>
            <p:cNvSpPr/>
            <p:nvPr/>
          </p:nvSpPr>
          <p:spPr>
            <a:xfrm>
              <a:off x="3669936" y="2777133"/>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7" name="Google Shape;87;p8"/>
            <p:cNvSpPr/>
            <p:nvPr/>
          </p:nvSpPr>
          <p:spPr>
            <a:xfrm>
              <a:off x="2973586" y="2900141"/>
              <a:ext cx="249971" cy="211335"/>
            </a:xfrm>
            <a:custGeom>
              <a:avLst/>
              <a:gdLst/>
              <a:ahLst/>
              <a:cxnLst/>
              <a:rect l="l" t="t" r="r" b="b"/>
              <a:pathLst>
                <a:path w="249971" h="211335" extrusionOk="0">
                  <a:moveTo>
                    <a:pt x="0" y="44087"/>
                  </a:moveTo>
                  <a:lnTo>
                    <a:pt x="0" y="212263"/>
                  </a:lnTo>
                  <a:lnTo>
                    <a:pt x="249972" y="168176"/>
                  </a:lnTo>
                  <a:lnTo>
                    <a:pt x="249972" y="0"/>
                  </a:lnTo>
                  <a:lnTo>
                    <a:pt x="0" y="44087"/>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8" name="Google Shape;88;p8"/>
            <p:cNvSpPr/>
            <p:nvPr/>
          </p:nvSpPr>
          <p:spPr>
            <a:xfrm>
              <a:off x="2973586" y="3176135"/>
              <a:ext cx="592194" cy="272355"/>
            </a:xfrm>
            <a:custGeom>
              <a:avLst/>
              <a:gdLst/>
              <a:ahLst/>
              <a:cxnLst/>
              <a:rect l="l" t="t" r="r" b="b"/>
              <a:pathLst>
                <a:path w="592194" h="272355" extrusionOk="0">
                  <a:moveTo>
                    <a:pt x="0" y="104445"/>
                  </a:moveTo>
                  <a:lnTo>
                    <a:pt x="0" y="272620"/>
                  </a:lnTo>
                  <a:lnTo>
                    <a:pt x="592195" y="168176"/>
                  </a:lnTo>
                  <a:lnTo>
                    <a:pt x="592195" y="0"/>
                  </a:lnTo>
                  <a:lnTo>
                    <a:pt x="0" y="104445"/>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9" name="Google Shape;89;p8"/>
            <p:cNvSpPr/>
            <p:nvPr/>
          </p:nvSpPr>
          <p:spPr>
            <a:xfrm>
              <a:off x="5446520" y="2777133"/>
              <a:ext cx="383885" cy="235148"/>
            </a:xfrm>
            <a:custGeom>
              <a:avLst/>
              <a:gdLst/>
              <a:ahLst/>
              <a:cxnLst/>
              <a:rect l="l" t="t" r="r" b="b"/>
              <a:pathLst>
                <a:path w="383885" h="235148" extrusionOk="0">
                  <a:moveTo>
                    <a:pt x="383885" y="0"/>
                  </a:moveTo>
                  <a:lnTo>
                    <a:pt x="381571" y="0"/>
                  </a:lnTo>
                  <a:lnTo>
                    <a:pt x="0" y="67297"/>
                  </a:lnTo>
                  <a:lnTo>
                    <a:pt x="0" y="235473"/>
                  </a:lnTo>
                  <a:lnTo>
                    <a:pt x="383885" y="167768"/>
                  </a:lnTo>
                  <a:lnTo>
                    <a:pt x="38388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90" name="Google Shape;90;p8"/>
            <p:cNvSpPr/>
            <p:nvPr/>
          </p:nvSpPr>
          <p:spPr>
            <a:xfrm>
              <a:off x="2973586" y="2964659"/>
              <a:ext cx="837702" cy="315515"/>
            </a:xfrm>
            <a:custGeom>
              <a:avLst/>
              <a:gdLst/>
              <a:ahLst/>
              <a:cxnLst/>
              <a:rect l="l" t="t" r="r" b="b"/>
              <a:pathLst>
                <a:path w="837702" h="315515" extrusionOk="0">
                  <a:moveTo>
                    <a:pt x="0" y="147745"/>
                  </a:moveTo>
                  <a:lnTo>
                    <a:pt x="0" y="315920"/>
                  </a:lnTo>
                  <a:lnTo>
                    <a:pt x="837703" y="168176"/>
                  </a:lnTo>
                  <a:lnTo>
                    <a:pt x="837703" y="0"/>
                  </a:lnTo>
                  <a:lnTo>
                    <a:pt x="0" y="14774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91" name="Google Shape;91;p8"/>
          <p:cNvSpPr txBox="1">
            <a:spLocks noGrp="1"/>
          </p:cNvSpPr>
          <p:nvPr>
            <p:ph type="title"/>
          </p:nvPr>
        </p:nvSpPr>
        <p:spPr>
          <a:xfrm>
            <a:off x="609600" y="-133"/>
            <a:ext cx="73152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 name="Google Shape;92;p8"/>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3" name="Google Shape;93;p8"/>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4" name="Google Shape;94;p8"/>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pic>
        <p:nvPicPr>
          <p:cNvPr id="14" name="Picture 13">
            <a:extLst>
              <a:ext uri="{FF2B5EF4-FFF2-40B4-BE49-F238E27FC236}">
                <a16:creationId xmlns:a16="http://schemas.microsoft.com/office/drawing/2014/main" id="{8F413A36-B3C1-95F5-5DFA-63289D4B3F1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1285859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 3 columns" preserve="1">
  <p:cSld name="1_Title + 3 columns">
    <p:spTree>
      <p:nvGrpSpPr>
        <p:cNvPr id="1" name="Shape 83"/>
        <p:cNvGrpSpPr/>
        <p:nvPr/>
      </p:nvGrpSpPr>
      <p:grpSpPr>
        <a:xfrm>
          <a:off x="0" y="0"/>
          <a:ext cx="0" cy="0"/>
          <a:chOff x="0" y="0"/>
          <a:chExt cx="0" cy="0"/>
        </a:xfrm>
      </p:grpSpPr>
      <p:grpSp>
        <p:nvGrpSpPr>
          <p:cNvPr id="84" name="Google Shape;84;p8"/>
          <p:cNvGrpSpPr/>
          <p:nvPr userDrawn="1"/>
        </p:nvGrpSpPr>
        <p:grpSpPr>
          <a:xfrm flipH="1">
            <a:off x="-159" y="-141"/>
            <a:ext cx="12191761" cy="6857756"/>
            <a:chOff x="2973586" y="2777133"/>
            <a:chExt cx="2856819" cy="1606935"/>
          </a:xfrm>
        </p:grpSpPr>
        <p:sp>
          <p:nvSpPr>
            <p:cNvPr id="85" name="Google Shape;85;p8"/>
            <p:cNvSpPr/>
            <p:nvPr/>
          </p:nvSpPr>
          <p:spPr>
            <a:xfrm>
              <a:off x="2973586" y="2944901"/>
              <a:ext cx="2856819" cy="1439167"/>
            </a:xfrm>
            <a:custGeom>
              <a:avLst/>
              <a:gdLst/>
              <a:ahLst/>
              <a:cxnLst/>
              <a:rect l="l" t="t" r="r" b="b"/>
              <a:pathLst>
                <a:path w="2856819" h="1439167" extrusionOk="0">
                  <a:moveTo>
                    <a:pt x="0" y="1439576"/>
                  </a:moveTo>
                  <a:lnTo>
                    <a:pt x="2856819" y="1439576"/>
                  </a:lnTo>
                  <a:lnTo>
                    <a:pt x="2856819" y="0"/>
                  </a:lnTo>
                  <a:lnTo>
                    <a:pt x="0" y="503855"/>
                  </a:lnTo>
                  <a:lnTo>
                    <a:pt x="0" y="1439576"/>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6" name="Google Shape;86;p8"/>
            <p:cNvSpPr/>
            <p:nvPr/>
          </p:nvSpPr>
          <p:spPr>
            <a:xfrm>
              <a:off x="3669936" y="2777133"/>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7" name="Google Shape;87;p8"/>
            <p:cNvSpPr/>
            <p:nvPr/>
          </p:nvSpPr>
          <p:spPr>
            <a:xfrm>
              <a:off x="2973586" y="2900141"/>
              <a:ext cx="249971" cy="211335"/>
            </a:xfrm>
            <a:custGeom>
              <a:avLst/>
              <a:gdLst/>
              <a:ahLst/>
              <a:cxnLst/>
              <a:rect l="l" t="t" r="r" b="b"/>
              <a:pathLst>
                <a:path w="249971" h="211335" extrusionOk="0">
                  <a:moveTo>
                    <a:pt x="0" y="44087"/>
                  </a:moveTo>
                  <a:lnTo>
                    <a:pt x="0" y="212263"/>
                  </a:lnTo>
                  <a:lnTo>
                    <a:pt x="249972" y="168176"/>
                  </a:lnTo>
                  <a:lnTo>
                    <a:pt x="249972" y="0"/>
                  </a:lnTo>
                  <a:lnTo>
                    <a:pt x="0" y="44087"/>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8" name="Google Shape;88;p8"/>
            <p:cNvSpPr/>
            <p:nvPr/>
          </p:nvSpPr>
          <p:spPr>
            <a:xfrm>
              <a:off x="2973586" y="3176135"/>
              <a:ext cx="592194" cy="272355"/>
            </a:xfrm>
            <a:custGeom>
              <a:avLst/>
              <a:gdLst/>
              <a:ahLst/>
              <a:cxnLst/>
              <a:rect l="l" t="t" r="r" b="b"/>
              <a:pathLst>
                <a:path w="592194" h="272355" extrusionOk="0">
                  <a:moveTo>
                    <a:pt x="0" y="104445"/>
                  </a:moveTo>
                  <a:lnTo>
                    <a:pt x="0" y="272620"/>
                  </a:lnTo>
                  <a:lnTo>
                    <a:pt x="592195" y="168176"/>
                  </a:lnTo>
                  <a:lnTo>
                    <a:pt x="592195" y="0"/>
                  </a:lnTo>
                  <a:lnTo>
                    <a:pt x="0" y="104445"/>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9" name="Google Shape;89;p8"/>
            <p:cNvSpPr/>
            <p:nvPr/>
          </p:nvSpPr>
          <p:spPr>
            <a:xfrm>
              <a:off x="5446520" y="2777133"/>
              <a:ext cx="383885" cy="235148"/>
            </a:xfrm>
            <a:custGeom>
              <a:avLst/>
              <a:gdLst/>
              <a:ahLst/>
              <a:cxnLst/>
              <a:rect l="l" t="t" r="r" b="b"/>
              <a:pathLst>
                <a:path w="383885" h="235148" extrusionOk="0">
                  <a:moveTo>
                    <a:pt x="383885" y="0"/>
                  </a:moveTo>
                  <a:lnTo>
                    <a:pt x="381571" y="0"/>
                  </a:lnTo>
                  <a:lnTo>
                    <a:pt x="0" y="67297"/>
                  </a:lnTo>
                  <a:lnTo>
                    <a:pt x="0" y="235473"/>
                  </a:lnTo>
                  <a:lnTo>
                    <a:pt x="383885" y="167768"/>
                  </a:lnTo>
                  <a:lnTo>
                    <a:pt x="38388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90" name="Google Shape;90;p8"/>
            <p:cNvSpPr/>
            <p:nvPr/>
          </p:nvSpPr>
          <p:spPr>
            <a:xfrm>
              <a:off x="2973586" y="2964659"/>
              <a:ext cx="837702" cy="315515"/>
            </a:xfrm>
            <a:custGeom>
              <a:avLst/>
              <a:gdLst/>
              <a:ahLst/>
              <a:cxnLst/>
              <a:rect l="l" t="t" r="r" b="b"/>
              <a:pathLst>
                <a:path w="837702" h="315515" extrusionOk="0">
                  <a:moveTo>
                    <a:pt x="0" y="147745"/>
                  </a:moveTo>
                  <a:lnTo>
                    <a:pt x="0" y="315920"/>
                  </a:lnTo>
                  <a:lnTo>
                    <a:pt x="837703" y="168176"/>
                  </a:lnTo>
                  <a:lnTo>
                    <a:pt x="837703" y="0"/>
                  </a:lnTo>
                  <a:lnTo>
                    <a:pt x="0" y="14774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91" name="Google Shape;91;p8"/>
          <p:cNvSpPr txBox="1">
            <a:spLocks noGrp="1"/>
          </p:cNvSpPr>
          <p:nvPr>
            <p:ph type="title"/>
          </p:nvPr>
        </p:nvSpPr>
        <p:spPr>
          <a:xfrm>
            <a:off x="609600" y="-133"/>
            <a:ext cx="109728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 name="Google Shape;92;p8"/>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3" name="Google Shape;93;p8"/>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4" name="Google Shape;94;p8"/>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pic>
        <p:nvPicPr>
          <p:cNvPr id="14" name="Picture 13">
            <a:extLst>
              <a:ext uri="{FF2B5EF4-FFF2-40B4-BE49-F238E27FC236}">
                <a16:creationId xmlns:a16="http://schemas.microsoft.com/office/drawing/2014/main" id="{8F413A36-B3C1-95F5-5DFA-63289D4B3F1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30623338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 3 columns" preserve="1">
  <p:cSld name="1_Title + 3 columns">
    <p:spTree>
      <p:nvGrpSpPr>
        <p:cNvPr id="1" name="Shape 83"/>
        <p:cNvGrpSpPr/>
        <p:nvPr/>
      </p:nvGrpSpPr>
      <p:grpSpPr>
        <a:xfrm>
          <a:off x="0" y="0"/>
          <a:ext cx="0" cy="0"/>
          <a:chOff x="0" y="0"/>
          <a:chExt cx="0" cy="0"/>
        </a:xfrm>
      </p:grpSpPr>
      <p:grpSp>
        <p:nvGrpSpPr>
          <p:cNvPr id="84" name="Google Shape;84;p8"/>
          <p:cNvGrpSpPr/>
          <p:nvPr userDrawn="1"/>
        </p:nvGrpSpPr>
        <p:grpSpPr>
          <a:xfrm>
            <a:off x="-159" y="-144"/>
            <a:ext cx="12191761" cy="2865083"/>
            <a:chOff x="2973586" y="2777133"/>
            <a:chExt cx="2856819" cy="671357"/>
          </a:xfrm>
        </p:grpSpPr>
        <p:sp>
          <p:nvSpPr>
            <p:cNvPr id="86" name="Google Shape;86;p8"/>
            <p:cNvSpPr/>
            <p:nvPr/>
          </p:nvSpPr>
          <p:spPr>
            <a:xfrm>
              <a:off x="3669936" y="2777133"/>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7" name="Google Shape;87;p8"/>
            <p:cNvSpPr/>
            <p:nvPr/>
          </p:nvSpPr>
          <p:spPr>
            <a:xfrm>
              <a:off x="2973586" y="2900141"/>
              <a:ext cx="249971" cy="211335"/>
            </a:xfrm>
            <a:custGeom>
              <a:avLst/>
              <a:gdLst/>
              <a:ahLst/>
              <a:cxnLst/>
              <a:rect l="l" t="t" r="r" b="b"/>
              <a:pathLst>
                <a:path w="249971" h="211335" extrusionOk="0">
                  <a:moveTo>
                    <a:pt x="0" y="44087"/>
                  </a:moveTo>
                  <a:lnTo>
                    <a:pt x="0" y="212263"/>
                  </a:lnTo>
                  <a:lnTo>
                    <a:pt x="249972" y="168176"/>
                  </a:lnTo>
                  <a:lnTo>
                    <a:pt x="249972" y="0"/>
                  </a:lnTo>
                  <a:lnTo>
                    <a:pt x="0" y="44087"/>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8" name="Google Shape;88;p8"/>
            <p:cNvSpPr/>
            <p:nvPr userDrawn="1"/>
          </p:nvSpPr>
          <p:spPr>
            <a:xfrm>
              <a:off x="2973586" y="3176135"/>
              <a:ext cx="592194" cy="272355"/>
            </a:xfrm>
            <a:custGeom>
              <a:avLst/>
              <a:gdLst/>
              <a:ahLst/>
              <a:cxnLst/>
              <a:rect l="l" t="t" r="r" b="b"/>
              <a:pathLst>
                <a:path w="592194" h="272355" extrusionOk="0">
                  <a:moveTo>
                    <a:pt x="0" y="104445"/>
                  </a:moveTo>
                  <a:lnTo>
                    <a:pt x="0" y="272620"/>
                  </a:lnTo>
                  <a:lnTo>
                    <a:pt x="592195" y="168176"/>
                  </a:lnTo>
                  <a:lnTo>
                    <a:pt x="592195" y="0"/>
                  </a:lnTo>
                  <a:lnTo>
                    <a:pt x="0" y="104445"/>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9" name="Google Shape;89;p8"/>
            <p:cNvSpPr/>
            <p:nvPr/>
          </p:nvSpPr>
          <p:spPr>
            <a:xfrm>
              <a:off x="5446520" y="2777133"/>
              <a:ext cx="383885" cy="235148"/>
            </a:xfrm>
            <a:custGeom>
              <a:avLst/>
              <a:gdLst/>
              <a:ahLst/>
              <a:cxnLst/>
              <a:rect l="l" t="t" r="r" b="b"/>
              <a:pathLst>
                <a:path w="383885" h="235148" extrusionOk="0">
                  <a:moveTo>
                    <a:pt x="383885" y="0"/>
                  </a:moveTo>
                  <a:lnTo>
                    <a:pt x="381571" y="0"/>
                  </a:lnTo>
                  <a:lnTo>
                    <a:pt x="0" y="67297"/>
                  </a:lnTo>
                  <a:lnTo>
                    <a:pt x="0" y="235473"/>
                  </a:lnTo>
                  <a:lnTo>
                    <a:pt x="383885" y="167768"/>
                  </a:lnTo>
                  <a:lnTo>
                    <a:pt x="38388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90" name="Google Shape;90;p8"/>
            <p:cNvSpPr/>
            <p:nvPr/>
          </p:nvSpPr>
          <p:spPr>
            <a:xfrm>
              <a:off x="2973586" y="2964659"/>
              <a:ext cx="837702" cy="315515"/>
            </a:xfrm>
            <a:custGeom>
              <a:avLst/>
              <a:gdLst/>
              <a:ahLst/>
              <a:cxnLst/>
              <a:rect l="l" t="t" r="r" b="b"/>
              <a:pathLst>
                <a:path w="837702" h="315515" extrusionOk="0">
                  <a:moveTo>
                    <a:pt x="0" y="147745"/>
                  </a:moveTo>
                  <a:lnTo>
                    <a:pt x="0" y="315920"/>
                  </a:lnTo>
                  <a:lnTo>
                    <a:pt x="837703" y="168176"/>
                  </a:lnTo>
                  <a:lnTo>
                    <a:pt x="837703" y="0"/>
                  </a:lnTo>
                  <a:lnTo>
                    <a:pt x="0" y="14774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2" name="Rectangle 1">
            <a:extLst>
              <a:ext uri="{FF2B5EF4-FFF2-40B4-BE49-F238E27FC236}">
                <a16:creationId xmlns:a16="http://schemas.microsoft.com/office/drawing/2014/main" id="{84EB0764-F0D4-9554-DEBB-DE11A8FB7FC3}"/>
              </a:ext>
            </a:extLst>
          </p:cNvPr>
          <p:cNvSpPr/>
          <p:nvPr userDrawn="1"/>
        </p:nvSpPr>
        <p:spPr>
          <a:xfrm>
            <a:off x="1" y="800141"/>
            <a:ext cx="12191601" cy="6057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91" name="Google Shape;91;p8"/>
          <p:cNvSpPr txBox="1">
            <a:spLocks noGrp="1"/>
          </p:cNvSpPr>
          <p:nvPr>
            <p:ph type="title"/>
          </p:nvPr>
        </p:nvSpPr>
        <p:spPr>
          <a:xfrm>
            <a:off x="609600" y="-133"/>
            <a:ext cx="73152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 name="Google Shape;92;p8"/>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3" name="Google Shape;93;p8"/>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4" name="Google Shape;94;p8"/>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pic>
        <p:nvPicPr>
          <p:cNvPr id="14" name="Picture 13">
            <a:extLst>
              <a:ext uri="{FF2B5EF4-FFF2-40B4-BE49-F238E27FC236}">
                <a16:creationId xmlns:a16="http://schemas.microsoft.com/office/drawing/2014/main" id="{8F413A36-B3C1-95F5-5DFA-63289D4B3F1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1523377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 1 column + image">
  <p:cSld name="Title + 1 column + image">
    <p:spTree>
      <p:nvGrpSpPr>
        <p:cNvPr id="1" name="Shape 58"/>
        <p:cNvGrpSpPr/>
        <p:nvPr/>
      </p:nvGrpSpPr>
      <p:grpSpPr>
        <a:xfrm>
          <a:off x="0" y="0"/>
          <a:ext cx="0" cy="0"/>
          <a:chOff x="0" y="0"/>
          <a:chExt cx="0" cy="0"/>
        </a:xfrm>
      </p:grpSpPr>
      <p:grpSp>
        <p:nvGrpSpPr>
          <p:cNvPr id="59" name="Google Shape;59;p6"/>
          <p:cNvGrpSpPr/>
          <p:nvPr/>
        </p:nvGrpSpPr>
        <p:grpSpPr>
          <a:xfrm>
            <a:off x="-318" y="-141"/>
            <a:ext cx="12191761" cy="6857756"/>
            <a:chOff x="6361595" y="2777133"/>
            <a:chExt cx="2856819" cy="1606935"/>
          </a:xfrm>
        </p:grpSpPr>
        <p:sp>
          <p:nvSpPr>
            <p:cNvPr id="60" name="Google Shape;60;p6"/>
            <p:cNvSpPr/>
            <p:nvPr/>
          </p:nvSpPr>
          <p:spPr>
            <a:xfrm>
              <a:off x="6361595" y="3328877"/>
              <a:ext cx="2856819" cy="1055191"/>
            </a:xfrm>
            <a:custGeom>
              <a:avLst/>
              <a:gdLst/>
              <a:ahLst/>
              <a:cxnLst/>
              <a:rect l="l" t="t" r="r" b="b"/>
              <a:pathLst>
                <a:path w="2856819" h="1055191" extrusionOk="0">
                  <a:moveTo>
                    <a:pt x="0" y="1055599"/>
                  </a:moveTo>
                  <a:lnTo>
                    <a:pt x="2856819" y="1055599"/>
                  </a:lnTo>
                  <a:lnTo>
                    <a:pt x="2856819" y="0"/>
                  </a:lnTo>
                  <a:lnTo>
                    <a:pt x="0" y="503854"/>
                  </a:lnTo>
                  <a:lnTo>
                    <a:pt x="0" y="1055599"/>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1" name="Google Shape;61;p6"/>
            <p:cNvSpPr/>
            <p:nvPr/>
          </p:nvSpPr>
          <p:spPr>
            <a:xfrm>
              <a:off x="6361595" y="3581367"/>
              <a:ext cx="471672" cy="250031"/>
            </a:xfrm>
            <a:custGeom>
              <a:avLst/>
              <a:gdLst/>
              <a:ahLst/>
              <a:cxnLst/>
              <a:rect l="l" t="t" r="r" b="b"/>
              <a:pathLst>
                <a:path w="471672" h="250031" extrusionOk="0">
                  <a:moveTo>
                    <a:pt x="0" y="83189"/>
                  </a:moveTo>
                  <a:lnTo>
                    <a:pt x="0" y="251365"/>
                  </a:lnTo>
                  <a:lnTo>
                    <a:pt x="471673" y="168176"/>
                  </a:lnTo>
                  <a:lnTo>
                    <a:pt x="471673" y="0"/>
                  </a:lnTo>
                  <a:lnTo>
                    <a:pt x="0" y="83189"/>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2" name="Google Shape;62;p6"/>
            <p:cNvSpPr/>
            <p:nvPr/>
          </p:nvSpPr>
          <p:spPr>
            <a:xfrm>
              <a:off x="8188769" y="3160702"/>
              <a:ext cx="1029645" cy="349746"/>
            </a:xfrm>
            <a:custGeom>
              <a:avLst/>
              <a:gdLst/>
              <a:ahLst/>
              <a:cxnLst/>
              <a:rect l="l" t="t" r="r" b="b"/>
              <a:pathLst>
                <a:path w="1029645" h="349746" extrusionOk="0">
                  <a:moveTo>
                    <a:pt x="1029645" y="0"/>
                  </a:moveTo>
                  <a:lnTo>
                    <a:pt x="0" y="181597"/>
                  </a:lnTo>
                  <a:lnTo>
                    <a:pt x="0" y="349773"/>
                  </a:lnTo>
                  <a:lnTo>
                    <a:pt x="1029645" y="168176"/>
                  </a:lnTo>
                  <a:lnTo>
                    <a:pt x="1029645"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3" name="Google Shape;63;p6"/>
            <p:cNvSpPr/>
            <p:nvPr/>
          </p:nvSpPr>
          <p:spPr>
            <a:xfrm>
              <a:off x="6361595" y="3343125"/>
              <a:ext cx="868949" cy="319980"/>
            </a:xfrm>
            <a:custGeom>
              <a:avLst/>
              <a:gdLst/>
              <a:ahLst/>
              <a:cxnLst/>
              <a:rect l="l" t="t" r="r" b="b"/>
              <a:pathLst>
                <a:path w="868949" h="319980" extrusionOk="0">
                  <a:moveTo>
                    <a:pt x="0" y="153256"/>
                  </a:moveTo>
                  <a:lnTo>
                    <a:pt x="0" y="321431"/>
                  </a:lnTo>
                  <a:lnTo>
                    <a:pt x="868949" y="168176"/>
                  </a:lnTo>
                  <a:lnTo>
                    <a:pt x="868949" y="0"/>
                  </a:lnTo>
                  <a:lnTo>
                    <a:pt x="0" y="153256"/>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4" name="Google Shape;64;p6"/>
            <p:cNvSpPr/>
            <p:nvPr/>
          </p:nvSpPr>
          <p:spPr>
            <a:xfrm>
              <a:off x="6361595" y="3286479"/>
              <a:ext cx="236580" cy="209847"/>
            </a:xfrm>
            <a:custGeom>
              <a:avLst/>
              <a:gdLst/>
              <a:ahLst/>
              <a:cxnLst/>
              <a:rect l="l" t="t" r="r" b="b"/>
              <a:pathLst>
                <a:path w="236580" h="209847" extrusionOk="0">
                  <a:moveTo>
                    <a:pt x="0" y="41725"/>
                  </a:moveTo>
                  <a:lnTo>
                    <a:pt x="0" y="209901"/>
                  </a:lnTo>
                  <a:lnTo>
                    <a:pt x="236580" y="168176"/>
                  </a:lnTo>
                  <a:lnTo>
                    <a:pt x="236580" y="0"/>
                  </a:lnTo>
                  <a:lnTo>
                    <a:pt x="0" y="4172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5" name="Google Shape;65;p6"/>
            <p:cNvSpPr/>
            <p:nvPr/>
          </p:nvSpPr>
          <p:spPr>
            <a:xfrm>
              <a:off x="8331610" y="2824350"/>
              <a:ext cx="886804" cy="324445"/>
            </a:xfrm>
            <a:custGeom>
              <a:avLst/>
              <a:gdLst/>
              <a:ahLst/>
              <a:cxnLst/>
              <a:rect l="l" t="t" r="r" b="b"/>
              <a:pathLst>
                <a:path w="886804" h="324445" extrusionOk="0">
                  <a:moveTo>
                    <a:pt x="886804" y="0"/>
                  </a:moveTo>
                  <a:lnTo>
                    <a:pt x="0" y="156405"/>
                  </a:lnTo>
                  <a:lnTo>
                    <a:pt x="0" y="324581"/>
                  </a:lnTo>
                  <a:lnTo>
                    <a:pt x="886804" y="168176"/>
                  </a:lnTo>
                  <a:lnTo>
                    <a:pt x="886804"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6" name="Google Shape;66;p6"/>
            <p:cNvSpPr/>
            <p:nvPr/>
          </p:nvSpPr>
          <p:spPr>
            <a:xfrm>
              <a:off x="6868978" y="2954026"/>
              <a:ext cx="660639" cy="284261"/>
            </a:xfrm>
            <a:custGeom>
              <a:avLst/>
              <a:gdLst/>
              <a:ahLst/>
              <a:cxnLst/>
              <a:rect l="l" t="t" r="r" b="b"/>
              <a:pathLst>
                <a:path w="660639" h="284261" extrusionOk="0">
                  <a:moveTo>
                    <a:pt x="0" y="116516"/>
                  </a:moveTo>
                  <a:lnTo>
                    <a:pt x="0" y="284692"/>
                  </a:lnTo>
                  <a:lnTo>
                    <a:pt x="660639" y="168176"/>
                  </a:lnTo>
                  <a:lnTo>
                    <a:pt x="660639" y="0"/>
                  </a:lnTo>
                  <a:lnTo>
                    <a:pt x="0" y="116516"/>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67" name="Google Shape;67;p6"/>
            <p:cNvSpPr/>
            <p:nvPr/>
          </p:nvSpPr>
          <p:spPr>
            <a:xfrm>
              <a:off x="7093655" y="2777133"/>
              <a:ext cx="1438825" cy="253007"/>
            </a:xfrm>
            <a:custGeom>
              <a:avLst/>
              <a:gdLst/>
              <a:ahLst/>
              <a:cxnLst/>
              <a:rect l="l" t="t" r="r" b="b"/>
              <a:pathLst>
                <a:path w="1438825" h="253007" extrusionOk="0">
                  <a:moveTo>
                    <a:pt x="485388" y="0"/>
                  </a:moveTo>
                  <a:lnTo>
                    <a:pt x="0" y="85607"/>
                  </a:lnTo>
                  <a:lnTo>
                    <a:pt x="0" y="253783"/>
                  </a:lnTo>
                  <a:lnTo>
                    <a:pt x="1438932" y="0"/>
                  </a:lnTo>
                  <a:lnTo>
                    <a:pt x="485388" y="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68" name="Google Shape;68;p6"/>
          <p:cNvSpPr txBox="1">
            <a:spLocks noGrp="1"/>
          </p:cNvSpPr>
          <p:nvPr>
            <p:ph type="title"/>
          </p:nvPr>
        </p:nvSpPr>
        <p:spPr>
          <a:xfrm>
            <a:off x="609600" y="3192600"/>
            <a:ext cx="5486400" cy="560800"/>
          </a:xfrm>
          <a:prstGeom prst="rect">
            <a:avLst/>
          </a:prstGeom>
          <a:effectLst>
            <a:outerShdw blurRad="28575" dist="9525" dir="5400000" algn="bl" rotWithShape="0">
              <a:srgbClr val="00001A">
                <a:alpha val="15000"/>
              </a:srgbClr>
            </a:outerShdw>
          </a:effectLst>
        </p:spPr>
        <p:txBody>
          <a:bodyPr spcFirstLastPara="1" wrap="square" lIns="0" tIns="0" rIns="0" bIns="0" anchor="b" anchorCtr="0">
            <a:noAutofit/>
          </a:bodyPr>
          <a:lstStyle>
            <a:lvl1pPr lvl="0" rtl="0">
              <a:spcBef>
                <a:spcPts val="0"/>
              </a:spcBef>
              <a:spcAft>
                <a:spcPts val="0"/>
              </a:spcAft>
              <a:buSzPts val="2600"/>
              <a:buNone/>
              <a:defRPr sz="3467">
                <a:latin typeface="Franklin Gothic Medium" panose="020B0603020102020204" pitchFamily="34" charset="0"/>
              </a:defRPr>
            </a:lvl1pPr>
            <a:lvl2pPr lvl="1" rtl="0">
              <a:spcBef>
                <a:spcPts val="0"/>
              </a:spcBef>
              <a:spcAft>
                <a:spcPts val="0"/>
              </a:spcAft>
              <a:buSzPts val="2600"/>
              <a:buNone/>
              <a:defRPr sz="3467"/>
            </a:lvl2pPr>
            <a:lvl3pPr lvl="2" rtl="0">
              <a:spcBef>
                <a:spcPts val="0"/>
              </a:spcBef>
              <a:spcAft>
                <a:spcPts val="0"/>
              </a:spcAft>
              <a:buSzPts val="2600"/>
              <a:buNone/>
              <a:defRPr sz="3467"/>
            </a:lvl3pPr>
            <a:lvl4pPr lvl="3" rtl="0">
              <a:spcBef>
                <a:spcPts val="0"/>
              </a:spcBef>
              <a:spcAft>
                <a:spcPts val="0"/>
              </a:spcAft>
              <a:buSzPts val="2600"/>
              <a:buNone/>
              <a:defRPr sz="3467"/>
            </a:lvl4pPr>
            <a:lvl5pPr lvl="4" rtl="0">
              <a:spcBef>
                <a:spcPts val="0"/>
              </a:spcBef>
              <a:spcAft>
                <a:spcPts val="0"/>
              </a:spcAft>
              <a:buSzPts val="2600"/>
              <a:buNone/>
              <a:defRPr sz="3467"/>
            </a:lvl5pPr>
            <a:lvl6pPr lvl="5" rtl="0">
              <a:spcBef>
                <a:spcPts val="0"/>
              </a:spcBef>
              <a:spcAft>
                <a:spcPts val="0"/>
              </a:spcAft>
              <a:buSzPts val="2600"/>
              <a:buNone/>
              <a:defRPr sz="3467"/>
            </a:lvl6pPr>
            <a:lvl7pPr lvl="6" rtl="0">
              <a:spcBef>
                <a:spcPts val="0"/>
              </a:spcBef>
              <a:spcAft>
                <a:spcPts val="0"/>
              </a:spcAft>
              <a:buSzPts val="2600"/>
              <a:buNone/>
              <a:defRPr sz="3467"/>
            </a:lvl7pPr>
            <a:lvl8pPr lvl="7" rtl="0">
              <a:spcBef>
                <a:spcPts val="0"/>
              </a:spcBef>
              <a:spcAft>
                <a:spcPts val="0"/>
              </a:spcAft>
              <a:buSzPts val="2600"/>
              <a:buNone/>
              <a:defRPr sz="3467"/>
            </a:lvl8pPr>
            <a:lvl9pPr lvl="8" rtl="0">
              <a:spcBef>
                <a:spcPts val="0"/>
              </a:spcBef>
              <a:spcAft>
                <a:spcPts val="0"/>
              </a:spcAft>
              <a:buSzPts val="2600"/>
              <a:buNone/>
              <a:defRPr sz="3467"/>
            </a:lvl9pPr>
          </a:lstStyle>
          <a:p>
            <a:endParaRPr/>
          </a:p>
        </p:txBody>
      </p:sp>
      <p:sp>
        <p:nvSpPr>
          <p:cNvPr id="69" name="Google Shape;69;p6"/>
          <p:cNvSpPr txBox="1">
            <a:spLocks noGrp="1"/>
          </p:cNvSpPr>
          <p:nvPr>
            <p:ph type="body" idx="1"/>
          </p:nvPr>
        </p:nvSpPr>
        <p:spPr>
          <a:xfrm>
            <a:off x="4267200" y="3733567"/>
            <a:ext cx="7315200" cy="2825200"/>
          </a:xfrm>
          <a:prstGeom prst="rect">
            <a:avLst/>
          </a:prstGeom>
        </p:spPr>
        <p:txBody>
          <a:bodyPr spcFirstLastPara="1" wrap="square" lIns="0" tIns="0" rIns="0" bIns="0" anchor="ctr" anchorCtr="0">
            <a:noAutofit/>
          </a:bodyPr>
          <a:lstStyle>
            <a:lvl1pPr marL="609585" lvl="0" indent="-474121" rtl="0">
              <a:spcBef>
                <a:spcPts val="800"/>
              </a:spcBef>
              <a:spcAft>
                <a:spcPts val="0"/>
              </a:spcAft>
              <a:buSzPts val="2000"/>
              <a:buChar char="▰"/>
              <a:defRPr sz="2667"/>
            </a:lvl1pPr>
            <a:lvl2pPr marL="1219170" lvl="1" indent="-474121" rtl="0">
              <a:spcBef>
                <a:spcPts val="0"/>
              </a:spcBef>
              <a:spcAft>
                <a:spcPts val="0"/>
              </a:spcAft>
              <a:buSzPts val="2000"/>
              <a:buChar char="▰"/>
              <a:defRPr sz="2667"/>
            </a:lvl2pPr>
            <a:lvl3pPr marL="1828754" lvl="2" indent="-474121" rtl="0">
              <a:spcBef>
                <a:spcPts val="0"/>
              </a:spcBef>
              <a:spcAft>
                <a:spcPts val="0"/>
              </a:spcAft>
              <a:buSzPts val="2000"/>
              <a:buChar char="▰"/>
              <a:defRPr sz="2667"/>
            </a:lvl3pPr>
            <a:lvl4pPr marL="2438339" lvl="3" indent="-474121" rtl="0">
              <a:spcBef>
                <a:spcPts val="0"/>
              </a:spcBef>
              <a:spcAft>
                <a:spcPts val="0"/>
              </a:spcAft>
              <a:buSzPts val="2000"/>
              <a:buChar char="▰"/>
              <a:defRPr sz="2667"/>
            </a:lvl4pPr>
            <a:lvl5pPr marL="3047924" lvl="4" indent="-474121" rtl="0">
              <a:spcBef>
                <a:spcPts val="0"/>
              </a:spcBef>
              <a:spcAft>
                <a:spcPts val="0"/>
              </a:spcAft>
              <a:buSzPts val="2000"/>
              <a:buChar char="▰"/>
              <a:defRPr sz="2667"/>
            </a:lvl5pPr>
            <a:lvl6pPr marL="3657509" lvl="5" indent="-474121" rtl="0">
              <a:spcBef>
                <a:spcPts val="0"/>
              </a:spcBef>
              <a:spcAft>
                <a:spcPts val="0"/>
              </a:spcAft>
              <a:buSzPts val="2000"/>
              <a:buChar char="▰"/>
              <a:defRPr sz="2667"/>
            </a:lvl6pPr>
            <a:lvl7pPr marL="4267093" lvl="6" indent="-474121" rtl="0">
              <a:spcBef>
                <a:spcPts val="0"/>
              </a:spcBef>
              <a:spcAft>
                <a:spcPts val="0"/>
              </a:spcAft>
              <a:buSzPts val="2000"/>
              <a:buChar char="▰"/>
              <a:defRPr sz="2667"/>
            </a:lvl7pPr>
            <a:lvl8pPr marL="4876678" lvl="7" indent="-474121" rtl="0">
              <a:spcBef>
                <a:spcPts val="0"/>
              </a:spcBef>
              <a:spcAft>
                <a:spcPts val="0"/>
              </a:spcAft>
              <a:buSzPts val="2000"/>
              <a:buChar char="▰"/>
              <a:defRPr sz="2667"/>
            </a:lvl8pPr>
            <a:lvl9pPr marL="5486263" lvl="8" indent="-474121" rtl="0">
              <a:spcBef>
                <a:spcPts val="0"/>
              </a:spcBef>
              <a:spcAft>
                <a:spcPts val="0"/>
              </a:spcAft>
              <a:buSzPts val="2000"/>
              <a:buChar char="▰"/>
              <a:defRPr sz="2667"/>
            </a:lvl9pPr>
          </a:lstStyle>
          <a:p>
            <a:endParaRPr/>
          </a:p>
        </p:txBody>
      </p:sp>
      <p:pic>
        <p:nvPicPr>
          <p:cNvPr id="14" name="Picture 13">
            <a:extLst>
              <a:ext uri="{FF2B5EF4-FFF2-40B4-BE49-F238E27FC236}">
                <a16:creationId xmlns:a16="http://schemas.microsoft.com/office/drawing/2014/main" id="{95207670-779B-BCBA-D2EB-B1F113364C0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5973208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115"/>
        <p:cNvGrpSpPr/>
        <p:nvPr/>
      </p:nvGrpSpPr>
      <p:grpSpPr>
        <a:xfrm>
          <a:off x="0" y="0"/>
          <a:ext cx="0" cy="0"/>
          <a:chOff x="0" y="0"/>
          <a:chExt cx="0" cy="0"/>
        </a:xfrm>
      </p:grpSpPr>
      <p:grpSp>
        <p:nvGrpSpPr>
          <p:cNvPr id="116" name="Google Shape;116;p11"/>
          <p:cNvGrpSpPr/>
          <p:nvPr userDrawn="1"/>
        </p:nvGrpSpPr>
        <p:grpSpPr>
          <a:xfrm>
            <a:off x="-159" y="1"/>
            <a:ext cx="12191761" cy="6859497"/>
            <a:chOff x="2973586" y="0"/>
            <a:chExt cx="2856819" cy="1607343"/>
          </a:xfrm>
        </p:grpSpPr>
        <p:sp>
          <p:nvSpPr>
            <p:cNvPr id="117" name="Google Shape;117;p11"/>
            <p:cNvSpPr/>
            <p:nvPr/>
          </p:nvSpPr>
          <p:spPr>
            <a:xfrm>
              <a:off x="2973586" y="0"/>
              <a:ext cx="2856819" cy="1607343"/>
            </a:xfrm>
            <a:custGeom>
              <a:avLst/>
              <a:gdLst/>
              <a:ahLst/>
              <a:cxnLst/>
              <a:rect l="l" t="t" r="r" b="b"/>
              <a:pathLst>
                <a:path w="2856819" h="1607343" extrusionOk="0">
                  <a:moveTo>
                    <a:pt x="0" y="1607344"/>
                  </a:moveTo>
                  <a:lnTo>
                    <a:pt x="2856819" y="1607344"/>
                  </a:lnTo>
                  <a:lnTo>
                    <a:pt x="2856819" y="0"/>
                  </a:lnTo>
                  <a:lnTo>
                    <a:pt x="2854505" y="0"/>
                  </a:lnTo>
                  <a:lnTo>
                    <a:pt x="0" y="503447"/>
                  </a:lnTo>
                  <a:lnTo>
                    <a:pt x="0" y="160734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18" name="Google Shape;118;p11"/>
            <p:cNvSpPr/>
            <p:nvPr/>
          </p:nvSpPr>
          <p:spPr>
            <a:xfrm>
              <a:off x="2973586" y="278850"/>
              <a:ext cx="319904" cy="223242"/>
            </a:xfrm>
            <a:custGeom>
              <a:avLst/>
              <a:gdLst/>
              <a:ahLst/>
              <a:cxnLst/>
              <a:rect l="l" t="t" r="r" b="b"/>
              <a:pathLst>
                <a:path w="319904" h="223242" extrusionOk="0">
                  <a:moveTo>
                    <a:pt x="0" y="56421"/>
                  </a:moveTo>
                  <a:lnTo>
                    <a:pt x="0" y="224597"/>
                  </a:lnTo>
                  <a:lnTo>
                    <a:pt x="319904" y="168176"/>
                  </a:lnTo>
                  <a:lnTo>
                    <a:pt x="319904" y="0"/>
                  </a:lnTo>
                  <a:lnTo>
                    <a:pt x="0" y="56421"/>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19" name="Google Shape;119;p11"/>
            <p:cNvSpPr/>
            <p:nvPr/>
          </p:nvSpPr>
          <p:spPr>
            <a:xfrm>
              <a:off x="4446633" y="0"/>
              <a:ext cx="1380795" cy="242589"/>
            </a:xfrm>
            <a:custGeom>
              <a:avLst/>
              <a:gdLst/>
              <a:ahLst/>
              <a:cxnLst/>
              <a:rect l="l" t="t" r="r" b="b"/>
              <a:pathLst>
                <a:path w="1380795" h="242589" extrusionOk="0">
                  <a:moveTo>
                    <a:pt x="427914" y="0"/>
                  </a:moveTo>
                  <a:lnTo>
                    <a:pt x="0" y="75471"/>
                  </a:lnTo>
                  <a:lnTo>
                    <a:pt x="0" y="243647"/>
                  </a:lnTo>
                  <a:lnTo>
                    <a:pt x="1381458" y="0"/>
                  </a:lnTo>
                  <a:lnTo>
                    <a:pt x="427914" y="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0" name="Google Shape;120;p11"/>
            <p:cNvSpPr/>
            <p:nvPr/>
          </p:nvSpPr>
          <p:spPr>
            <a:xfrm>
              <a:off x="2973586" y="131406"/>
              <a:ext cx="202358" cy="202406"/>
            </a:xfrm>
            <a:custGeom>
              <a:avLst/>
              <a:gdLst/>
              <a:ahLst/>
              <a:cxnLst/>
              <a:rect l="l" t="t" r="r" b="b"/>
              <a:pathLst>
                <a:path w="202358" h="202406" extrusionOk="0">
                  <a:moveTo>
                    <a:pt x="0" y="35689"/>
                  </a:moveTo>
                  <a:lnTo>
                    <a:pt x="0" y="203865"/>
                  </a:lnTo>
                  <a:lnTo>
                    <a:pt x="202358" y="168176"/>
                  </a:lnTo>
                  <a:lnTo>
                    <a:pt x="202358" y="0"/>
                  </a:lnTo>
                  <a:lnTo>
                    <a:pt x="0" y="35689"/>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1" name="Google Shape;121;p11"/>
            <p:cNvSpPr/>
            <p:nvPr/>
          </p:nvSpPr>
          <p:spPr>
            <a:xfrm>
              <a:off x="3669936" y="0"/>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pic>
        <p:nvPicPr>
          <p:cNvPr id="9" name="Picture 8">
            <a:extLst>
              <a:ext uri="{FF2B5EF4-FFF2-40B4-BE49-F238E27FC236}">
                <a16:creationId xmlns:a16="http://schemas.microsoft.com/office/drawing/2014/main" id="{7D60A141-D28E-44F4-F1EE-E40810C755B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68973" y="5790525"/>
            <a:ext cx="1510017" cy="883217"/>
          </a:xfrm>
          <a:prstGeom prst="rect">
            <a:avLst/>
          </a:prstGeom>
        </p:spPr>
      </p:pic>
      <p:sp>
        <p:nvSpPr>
          <p:cNvPr id="10" name="Google Shape;91;p8">
            <a:extLst>
              <a:ext uri="{FF2B5EF4-FFF2-40B4-BE49-F238E27FC236}">
                <a16:creationId xmlns:a16="http://schemas.microsoft.com/office/drawing/2014/main" id="{07CB3C4E-7D46-9AE9-CC97-9084CA7A81CC}"/>
              </a:ext>
            </a:extLst>
          </p:cNvPr>
          <p:cNvSpPr txBox="1">
            <a:spLocks noGrp="1"/>
          </p:cNvSpPr>
          <p:nvPr>
            <p:ph type="title"/>
          </p:nvPr>
        </p:nvSpPr>
        <p:spPr>
          <a:xfrm>
            <a:off x="609600" y="-133"/>
            <a:ext cx="73152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11" name="Google Shape;92;p8">
            <a:extLst>
              <a:ext uri="{FF2B5EF4-FFF2-40B4-BE49-F238E27FC236}">
                <a16:creationId xmlns:a16="http://schemas.microsoft.com/office/drawing/2014/main" id="{D9FBEFC5-111B-F846-C2FC-3DDA0D13304D}"/>
              </a:ext>
            </a:extLst>
          </p:cNvPr>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12" name="Google Shape;93;p8">
            <a:extLst>
              <a:ext uri="{FF2B5EF4-FFF2-40B4-BE49-F238E27FC236}">
                <a16:creationId xmlns:a16="http://schemas.microsoft.com/office/drawing/2014/main" id="{A6B73FF2-803C-AA01-A44A-E4485CE865DA}"/>
              </a:ext>
            </a:extLst>
          </p:cNvPr>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13" name="Google Shape;94;p8">
            <a:extLst>
              <a:ext uri="{FF2B5EF4-FFF2-40B4-BE49-F238E27FC236}">
                <a16:creationId xmlns:a16="http://schemas.microsoft.com/office/drawing/2014/main" id="{C7201E89-04F3-CFC6-6392-36A6050C9969}"/>
              </a:ext>
            </a:extLst>
          </p:cNvPr>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Tree>
    <p:extLst>
      <p:ext uri="{BB962C8B-B14F-4D97-AF65-F5344CB8AC3E}">
        <p14:creationId xmlns:p14="http://schemas.microsoft.com/office/powerpoint/2010/main" val="30210768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grpSp>
        <p:nvGrpSpPr>
          <p:cNvPr id="10" name="Google Shape;10;p2"/>
          <p:cNvGrpSpPr/>
          <p:nvPr/>
        </p:nvGrpSpPr>
        <p:grpSpPr>
          <a:xfrm>
            <a:off x="-159" y="-267"/>
            <a:ext cx="12191761" cy="6857181"/>
            <a:chOff x="2973586" y="5250656"/>
            <a:chExt cx="2856819" cy="1606800"/>
          </a:xfrm>
        </p:grpSpPr>
        <p:sp>
          <p:nvSpPr>
            <p:cNvPr id="11" name="Google Shape;11;p2"/>
            <p:cNvSpPr/>
            <p:nvPr/>
          </p:nvSpPr>
          <p:spPr>
            <a:xfrm>
              <a:off x="2973586" y="6221960"/>
              <a:ext cx="2856819" cy="635496"/>
            </a:xfrm>
            <a:custGeom>
              <a:avLst/>
              <a:gdLst/>
              <a:ahLst/>
              <a:cxnLst/>
              <a:rect l="l" t="t" r="r" b="b"/>
              <a:pathLst>
                <a:path w="2856819" h="635496" extrusionOk="0">
                  <a:moveTo>
                    <a:pt x="0" y="636040"/>
                  </a:moveTo>
                  <a:lnTo>
                    <a:pt x="2856819" y="636040"/>
                  </a:lnTo>
                  <a:lnTo>
                    <a:pt x="2856819" y="0"/>
                  </a:lnTo>
                  <a:lnTo>
                    <a:pt x="0" y="503857"/>
                  </a:lnTo>
                  <a:lnTo>
                    <a:pt x="0" y="63604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 name="Google Shape;12;p2"/>
            <p:cNvSpPr/>
            <p:nvPr/>
          </p:nvSpPr>
          <p:spPr>
            <a:xfrm>
              <a:off x="2973586" y="6067738"/>
              <a:ext cx="642784" cy="385464"/>
            </a:xfrm>
            <a:custGeom>
              <a:avLst/>
              <a:gdLst/>
              <a:ahLst/>
              <a:cxnLst/>
              <a:rect l="l" t="t" r="r" b="b"/>
              <a:pathLst>
                <a:path w="642784" h="385464" extrusionOk="0">
                  <a:moveTo>
                    <a:pt x="0" y="113368"/>
                  </a:moveTo>
                  <a:lnTo>
                    <a:pt x="0" y="385724"/>
                  </a:lnTo>
                  <a:lnTo>
                    <a:pt x="642784" y="272355"/>
                  </a:lnTo>
                  <a:lnTo>
                    <a:pt x="642784" y="0"/>
                  </a:lnTo>
                  <a:lnTo>
                    <a:pt x="0" y="113368"/>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p:nvPr/>
          </p:nvSpPr>
          <p:spPr>
            <a:xfrm>
              <a:off x="3378302" y="5250656"/>
              <a:ext cx="1781048" cy="314027"/>
            </a:xfrm>
            <a:custGeom>
              <a:avLst/>
              <a:gdLst/>
              <a:ahLst/>
              <a:cxnLst/>
              <a:rect l="l" t="t" r="r" b="b"/>
              <a:pathLst>
                <a:path w="1781048" h="314027" extrusionOk="0">
                  <a:moveTo>
                    <a:pt x="238155" y="0"/>
                  </a:moveTo>
                  <a:lnTo>
                    <a:pt x="0" y="42004"/>
                  </a:lnTo>
                  <a:lnTo>
                    <a:pt x="0" y="314359"/>
                  </a:lnTo>
                  <a:lnTo>
                    <a:pt x="1782389" y="0"/>
                  </a:lnTo>
                  <a:lnTo>
                    <a:pt x="23815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4" name="Google Shape;14;p2"/>
            <p:cNvSpPr/>
            <p:nvPr/>
          </p:nvSpPr>
          <p:spPr>
            <a:xfrm>
              <a:off x="4790344" y="5404894"/>
              <a:ext cx="1040060" cy="455414"/>
            </a:xfrm>
            <a:custGeom>
              <a:avLst/>
              <a:gdLst/>
              <a:ahLst/>
              <a:cxnLst/>
              <a:rect l="l" t="t" r="r" b="b"/>
              <a:pathLst>
                <a:path w="1040060" h="455414" extrusionOk="0">
                  <a:moveTo>
                    <a:pt x="1040061" y="0"/>
                  </a:moveTo>
                  <a:lnTo>
                    <a:pt x="0" y="184194"/>
                  </a:lnTo>
                  <a:lnTo>
                    <a:pt x="0" y="456550"/>
                  </a:lnTo>
                  <a:lnTo>
                    <a:pt x="1040061" y="272355"/>
                  </a:lnTo>
                  <a:lnTo>
                    <a:pt x="1040061"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5" name="Google Shape;15;p2"/>
            <p:cNvSpPr/>
            <p:nvPr/>
          </p:nvSpPr>
          <p:spPr>
            <a:xfrm>
              <a:off x="2973586" y="6263466"/>
              <a:ext cx="1077258" cy="461367"/>
            </a:xfrm>
            <a:custGeom>
              <a:avLst/>
              <a:gdLst/>
              <a:ahLst/>
              <a:cxnLst/>
              <a:rect l="l" t="t" r="r" b="b"/>
              <a:pathLst>
                <a:path w="1077258" h="461367" extrusionOk="0">
                  <a:moveTo>
                    <a:pt x="0" y="189996"/>
                  </a:moveTo>
                  <a:lnTo>
                    <a:pt x="0" y="462351"/>
                  </a:lnTo>
                  <a:lnTo>
                    <a:pt x="1077259" y="272355"/>
                  </a:lnTo>
                  <a:lnTo>
                    <a:pt x="1077259" y="0"/>
                  </a:lnTo>
                  <a:lnTo>
                    <a:pt x="0" y="189996"/>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6" name="Google Shape;16;p2"/>
            <p:cNvSpPr/>
            <p:nvPr/>
          </p:nvSpPr>
          <p:spPr>
            <a:xfrm>
              <a:off x="5531332" y="5949605"/>
              <a:ext cx="299073" cy="324445"/>
            </a:xfrm>
            <a:custGeom>
              <a:avLst/>
              <a:gdLst/>
              <a:ahLst/>
              <a:cxnLst/>
              <a:rect l="l" t="t" r="r" b="b"/>
              <a:pathLst>
                <a:path w="299073" h="324445" extrusionOk="0">
                  <a:moveTo>
                    <a:pt x="299073" y="0"/>
                  </a:moveTo>
                  <a:lnTo>
                    <a:pt x="0" y="52748"/>
                  </a:lnTo>
                  <a:lnTo>
                    <a:pt x="0" y="325103"/>
                  </a:lnTo>
                  <a:lnTo>
                    <a:pt x="299073" y="272355"/>
                  </a:lnTo>
                  <a:lnTo>
                    <a:pt x="299073"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7" name="Google Shape;17;p2"/>
            <p:cNvSpPr/>
            <p:nvPr/>
          </p:nvSpPr>
          <p:spPr>
            <a:xfrm>
              <a:off x="3613394" y="5425142"/>
              <a:ext cx="557972" cy="370582"/>
            </a:xfrm>
            <a:custGeom>
              <a:avLst/>
              <a:gdLst/>
              <a:ahLst/>
              <a:cxnLst/>
              <a:rect l="l" t="t" r="r" b="b"/>
              <a:pathLst>
                <a:path w="557972" h="370582" extrusionOk="0">
                  <a:moveTo>
                    <a:pt x="0" y="98410"/>
                  </a:moveTo>
                  <a:lnTo>
                    <a:pt x="0" y="370765"/>
                  </a:lnTo>
                  <a:lnTo>
                    <a:pt x="557973" y="272355"/>
                  </a:lnTo>
                  <a:lnTo>
                    <a:pt x="557973" y="0"/>
                  </a:lnTo>
                  <a:lnTo>
                    <a:pt x="0" y="9841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8" name="Google Shape;18;p2"/>
            <p:cNvSpPr/>
            <p:nvPr/>
          </p:nvSpPr>
          <p:spPr>
            <a:xfrm>
              <a:off x="5636975" y="5677250"/>
              <a:ext cx="193430" cy="305097"/>
            </a:xfrm>
            <a:custGeom>
              <a:avLst/>
              <a:gdLst/>
              <a:ahLst/>
              <a:cxnLst/>
              <a:rect l="l" t="t" r="r" b="b"/>
              <a:pathLst>
                <a:path w="193430" h="305097" extrusionOk="0">
                  <a:moveTo>
                    <a:pt x="193430" y="0"/>
                  </a:moveTo>
                  <a:lnTo>
                    <a:pt x="0" y="34116"/>
                  </a:lnTo>
                  <a:lnTo>
                    <a:pt x="0" y="306471"/>
                  </a:lnTo>
                  <a:lnTo>
                    <a:pt x="193430" y="272355"/>
                  </a:lnTo>
                  <a:lnTo>
                    <a:pt x="19343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19" name="Google Shape;19;p2"/>
          <p:cNvSpPr txBox="1">
            <a:spLocks noGrp="1"/>
          </p:cNvSpPr>
          <p:nvPr>
            <p:ph type="ctrTitle" hasCustomPrompt="1"/>
          </p:nvPr>
        </p:nvSpPr>
        <p:spPr>
          <a:xfrm>
            <a:off x="609600" y="1065700"/>
            <a:ext cx="7315200" cy="4242800"/>
          </a:xfrm>
          <a:prstGeom prst="rect">
            <a:avLst/>
          </a:prstGeom>
        </p:spPr>
        <p:txBody>
          <a:bodyPr spcFirstLastPara="1" wrap="square" lIns="0" tIns="0" rIns="0" bIns="0" anchor="t" anchorCtr="0">
            <a:noAutofit/>
          </a:bodyPr>
          <a:lstStyle>
            <a:lvl1pPr lvl="0">
              <a:spcBef>
                <a:spcPts val="0"/>
              </a:spcBef>
              <a:spcAft>
                <a:spcPts val="0"/>
              </a:spcAft>
              <a:buSzPts val="5800"/>
              <a:buNone/>
              <a:defRPr sz="7733">
                <a:latin typeface="Franklin Gothic Medium" panose="020B0603020102020204" pitchFamily="34" charset="0"/>
              </a:defRPr>
            </a:lvl1pPr>
            <a:lvl2pPr lvl="1">
              <a:spcBef>
                <a:spcPts val="0"/>
              </a:spcBef>
              <a:spcAft>
                <a:spcPts val="0"/>
              </a:spcAft>
              <a:buSzPts val="5800"/>
              <a:buNone/>
              <a:defRPr sz="7733"/>
            </a:lvl2pPr>
            <a:lvl3pPr lvl="2">
              <a:spcBef>
                <a:spcPts val="0"/>
              </a:spcBef>
              <a:spcAft>
                <a:spcPts val="0"/>
              </a:spcAft>
              <a:buSzPts val="5800"/>
              <a:buNone/>
              <a:defRPr sz="7733"/>
            </a:lvl3pPr>
            <a:lvl4pPr lvl="3">
              <a:spcBef>
                <a:spcPts val="0"/>
              </a:spcBef>
              <a:spcAft>
                <a:spcPts val="0"/>
              </a:spcAft>
              <a:buSzPts val="5800"/>
              <a:buNone/>
              <a:defRPr sz="7733"/>
            </a:lvl4pPr>
            <a:lvl5pPr lvl="4">
              <a:spcBef>
                <a:spcPts val="0"/>
              </a:spcBef>
              <a:spcAft>
                <a:spcPts val="0"/>
              </a:spcAft>
              <a:buSzPts val="5800"/>
              <a:buNone/>
              <a:defRPr sz="7733"/>
            </a:lvl5pPr>
            <a:lvl6pPr lvl="5">
              <a:spcBef>
                <a:spcPts val="0"/>
              </a:spcBef>
              <a:spcAft>
                <a:spcPts val="0"/>
              </a:spcAft>
              <a:buSzPts val="5800"/>
              <a:buNone/>
              <a:defRPr sz="7733"/>
            </a:lvl6pPr>
            <a:lvl7pPr lvl="6">
              <a:spcBef>
                <a:spcPts val="0"/>
              </a:spcBef>
              <a:spcAft>
                <a:spcPts val="0"/>
              </a:spcAft>
              <a:buSzPts val="5800"/>
              <a:buNone/>
              <a:defRPr sz="7733"/>
            </a:lvl7pPr>
            <a:lvl8pPr lvl="7">
              <a:spcBef>
                <a:spcPts val="0"/>
              </a:spcBef>
              <a:spcAft>
                <a:spcPts val="0"/>
              </a:spcAft>
              <a:buSzPts val="5800"/>
              <a:buNone/>
              <a:defRPr sz="7733"/>
            </a:lvl8pPr>
            <a:lvl9pPr lvl="8">
              <a:spcBef>
                <a:spcPts val="0"/>
              </a:spcBef>
              <a:spcAft>
                <a:spcPts val="0"/>
              </a:spcAft>
              <a:buSzPts val="5800"/>
              <a:buNone/>
              <a:defRPr sz="7733"/>
            </a:lvl9pPr>
          </a:lstStyle>
          <a:p>
            <a:r>
              <a:rPr lang="en-US">
                <a:latin typeface="Franklin Gothic Medium" panose="020B0603020102020204" pitchFamily="34" charset="0"/>
              </a:rPr>
              <a:t>Title</a:t>
            </a:r>
            <a:endParaRPr/>
          </a:p>
        </p:txBody>
      </p:sp>
      <p:pic>
        <p:nvPicPr>
          <p:cNvPr id="20" name="Picture 19">
            <a:extLst>
              <a:ext uri="{FF2B5EF4-FFF2-40B4-BE49-F238E27FC236}">
                <a16:creationId xmlns:a16="http://schemas.microsoft.com/office/drawing/2014/main" id="{CDEB7FAB-DAFC-E075-D55F-FF308282E5A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307573" y="4467820"/>
            <a:ext cx="3771417" cy="2205923"/>
          </a:xfrm>
          <a:prstGeom prst="rect">
            <a:avLst/>
          </a:prstGeom>
        </p:spPr>
      </p:pic>
    </p:spTree>
    <p:extLst>
      <p:ext uri="{BB962C8B-B14F-4D97-AF65-F5344CB8AC3E}">
        <p14:creationId xmlns:p14="http://schemas.microsoft.com/office/powerpoint/2010/main" val="1924201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20"/>
        <p:cNvGrpSpPr/>
        <p:nvPr/>
      </p:nvGrpSpPr>
      <p:grpSpPr>
        <a:xfrm>
          <a:off x="0" y="0"/>
          <a:ext cx="0" cy="0"/>
          <a:chOff x="0" y="0"/>
          <a:chExt cx="0" cy="0"/>
        </a:xfrm>
      </p:grpSpPr>
      <p:grpSp>
        <p:nvGrpSpPr>
          <p:cNvPr id="21" name="Google Shape;21;p3"/>
          <p:cNvGrpSpPr/>
          <p:nvPr/>
        </p:nvGrpSpPr>
        <p:grpSpPr>
          <a:xfrm>
            <a:off x="-159" y="-267"/>
            <a:ext cx="12191761" cy="6857181"/>
            <a:chOff x="2973586" y="5250656"/>
            <a:chExt cx="2856819" cy="1606800"/>
          </a:xfrm>
        </p:grpSpPr>
        <p:sp>
          <p:nvSpPr>
            <p:cNvPr id="22" name="Google Shape;22;p3"/>
            <p:cNvSpPr/>
            <p:nvPr/>
          </p:nvSpPr>
          <p:spPr>
            <a:xfrm>
              <a:off x="2973586" y="6221960"/>
              <a:ext cx="2856819" cy="635496"/>
            </a:xfrm>
            <a:custGeom>
              <a:avLst/>
              <a:gdLst/>
              <a:ahLst/>
              <a:cxnLst/>
              <a:rect l="l" t="t" r="r" b="b"/>
              <a:pathLst>
                <a:path w="2856819" h="635496" extrusionOk="0">
                  <a:moveTo>
                    <a:pt x="0" y="636040"/>
                  </a:moveTo>
                  <a:lnTo>
                    <a:pt x="2856819" y="636040"/>
                  </a:lnTo>
                  <a:lnTo>
                    <a:pt x="2856819" y="0"/>
                  </a:lnTo>
                  <a:lnTo>
                    <a:pt x="0" y="503857"/>
                  </a:lnTo>
                  <a:lnTo>
                    <a:pt x="0" y="63604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3" name="Google Shape;23;p3"/>
            <p:cNvSpPr/>
            <p:nvPr/>
          </p:nvSpPr>
          <p:spPr>
            <a:xfrm>
              <a:off x="2973586" y="6067738"/>
              <a:ext cx="642784" cy="385464"/>
            </a:xfrm>
            <a:custGeom>
              <a:avLst/>
              <a:gdLst/>
              <a:ahLst/>
              <a:cxnLst/>
              <a:rect l="l" t="t" r="r" b="b"/>
              <a:pathLst>
                <a:path w="642784" h="385464" extrusionOk="0">
                  <a:moveTo>
                    <a:pt x="0" y="113368"/>
                  </a:moveTo>
                  <a:lnTo>
                    <a:pt x="0" y="385724"/>
                  </a:lnTo>
                  <a:lnTo>
                    <a:pt x="642784" y="272355"/>
                  </a:lnTo>
                  <a:lnTo>
                    <a:pt x="642784" y="0"/>
                  </a:lnTo>
                  <a:lnTo>
                    <a:pt x="0" y="113368"/>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4" name="Google Shape;24;p3"/>
            <p:cNvSpPr/>
            <p:nvPr/>
          </p:nvSpPr>
          <p:spPr>
            <a:xfrm>
              <a:off x="3378302" y="5250656"/>
              <a:ext cx="1781048" cy="314027"/>
            </a:xfrm>
            <a:custGeom>
              <a:avLst/>
              <a:gdLst/>
              <a:ahLst/>
              <a:cxnLst/>
              <a:rect l="l" t="t" r="r" b="b"/>
              <a:pathLst>
                <a:path w="1781048" h="314027" extrusionOk="0">
                  <a:moveTo>
                    <a:pt x="238155" y="0"/>
                  </a:moveTo>
                  <a:lnTo>
                    <a:pt x="0" y="42004"/>
                  </a:lnTo>
                  <a:lnTo>
                    <a:pt x="0" y="314359"/>
                  </a:lnTo>
                  <a:lnTo>
                    <a:pt x="1782389" y="0"/>
                  </a:lnTo>
                  <a:lnTo>
                    <a:pt x="23815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5" name="Google Shape;25;p3"/>
            <p:cNvSpPr/>
            <p:nvPr/>
          </p:nvSpPr>
          <p:spPr>
            <a:xfrm>
              <a:off x="4790344" y="5404894"/>
              <a:ext cx="1040060" cy="455414"/>
            </a:xfrm>
            <a:custGeom>
              <a:avLst/>
              <a:gdLst/>
              <a:ahLst/>
              <a:cxnLst/>
              <a:rect l="l" t="t" r="r" b="b"/>
              <a:pathLst>
                <a:path w="1040060" h="455414" extrusionOk="0">
                  <a:moveTo>
                    <a:pt x="1040061" y="0"/>
                  </a:moveTo>
                  <a:lnTo>
                    <a:pt x="0" y="184194"/>
                  </a:lnTo>
                  <a:lnTo>
                    <a:pt x="0" y="456550"/>
                  </a:lnTo>
                  <a:lnTo>
                    <a:pt x="1040061" y="272355"/>
                  </a:lnTo>
                  <a:lnTo>
                    <a:pt x="1040061"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6" name="Google Shape;26;p3"/>
            <p:cNvSpPr/>
            <p:nvPr/>
          </p:nvSpPr>
          <p:spPr>
            <a:xfrm>
              <a:off x="2973586" y="6263466"/>
              <a:ext cx="1077258" cy="461367"/>
            </a:xfrm>
            <a:custGeom>
              <a:avLst/>
              <a:gdLst/>
              <a:ahLst/>
              <a:cxnLst/>
              <a:rect l="l" t="t" r="r" b="b"/>
              <a:pathLst>
                <a:path w="1077258" h="461367" extrusionOk="0">
                  <a:moveTo>
                    <a:pt x="0" y="189996"/>
                  </a:moveTo>
                  <a:lnTo>
                    <a:pt x="0" y="462351"/>
                  </a:lnTo>
                  <a:lnTo>
                    <a:pt x="1077259" y="272355"/>
                  </a:lnTo>
                  <a:lnTo>
                    <a:pt x="1077259" y="0"/>
                  </a:lnTo>
                  <a:lnTo>
                    <a:pt x="0" y="189996"/>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7" name="Google Shape;27;p3"/>
            <p:cNvSpPr/>
            <p:nvPr/>
          </p:nvSpPr>
          <p:spPr>
            <a:xfrm>
              <a:off x="5531332" y="5949605"/>
              <a:ext cx="299073" cy="324445"/>
            </a:xfrm>
            <a:custGeom>
              <a:avLst/>
              <a:gdLst/>
              <a:ahLst/>
              <a:cxnLst/>
              <a:rect l="l" t="t" r="r" b="b"/>
              <a:pathLst>
                <a:path w="299073" h="324445" extrusionOk="0">
                  <a:moveTo>
                    <a:pt x="299073" y="0"/>
                  </a:moveTo>
                  <a:lnTo>
                    <a:pt x="0" y="52748"/>
                  </a:lnTo>
                  <a:lnTo>
                    <a:pt x="0" y="325103"/>
                  </a:lnTo>
                  <a:lnTo>
                    <a:pt x="299073" y="272355"/>
                  </a:lnTo>
                  <a:lnTo>
                    <a:pt x="299073"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8" name="Google Shape;28;p3"/>
            <p:cNvSpPr/>
            <p:nvPr/>
          </p:nvSpPr>
          <p:spPr>
            <a:xfrm>
              <a:off x="3613394" y="5425142"/>
              <a:ext cx="557972" cy="370582"/>
            </a:xfrm>
            <a:custGeom>
              <a:avLst/>
              <a:gdLst/>
              <a:ahLst/>
              <a:cxnLst/>
              <a:rect l="l" t="t" r="r" b="b"/>
              <a:pathLst>
                <a:path w="557972" h="370582" extrusionOk="0">
                  <a:moveTo>
                    <a:pt x="0" y="98410"/>
                  </a:moveTo>
                  <a:lnTo>
                    <a:pt x="0" y="370765"/>
                  </a:lnTo>
                  <a:lnTo>
                    <a:pt x="557973" y="272355"/>
                  </a:lnTo>
                  <a:lnTo>
                    <a:pt x="557973" y="0"/>
                  </a:lnTo>
                  <a:lnTo>
                    <a:pt x="0" y="9841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29" name="Google Shape;29;p3"/>
            <p:cNvSpPr/>
            <p:nvPr/>
          </p:nvSpPr>
          <p:spPr>
            <a:xfrm>
              <a:off x="5636975" y="5677250"/>
              <a:ext cx="193430" cy="305097"/>
            </a:xfrm>
            <a:custGeom>
              <a:avLst/>
              <a:gdLst/>
              <a:ahLst/>
              <a:cxnLst/>
              <a:rect l="l" t="t" r="r" b="b"/>
              <a:pathLst>
                <a:path w="193430" h="305097" extrusionOk="0">
                  <a:moveTo>
                    <a:pt x="193430" y="0"/>
                  </a:moveTo>
                  <a:lnTo>
                    <a:pt x="0" y="34116"/>
                  </a:lnTo>
                  <a:lnTo>
                    <a:pt x="0" y="306471"/>
                  </a:lnTo>
                  <a:lnTo>
                    <a:pt x="193430" y="272355"/>
                  </a:lnTo>
                  <a:lnTo>
                    <a:pt x="19343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30" name="Google Shape;30;p3"/>
          <p:cNvSpPr txBox="1">
            <a:spLocks noGrp="1"/>
          </p:cNvSpPr>
          <p:nvPr>
            <p:ph type="ctrTitle"/>
          </p:nvPr>
        </p:nvSpPr>
        <p:spPr>
          <a:xfrm>
            <a:off x="609600" y="1907933"/>
            <a:ext cx="7315200" cy="1546400"/>
          </a:xfrm>
          <a:prstGeom prst="rect">
            <a:avLst/>
          </a:prstGeom>
        </p:spPr>
        <p:txBody>
          <a:bodyPr spcFirstLastPara="1" wrap="square" lIns="0" tIns="0" rIns="0" bIns="0" anchor="ctr" anchorCtr="0">
            <a:noAutofit/>
          </a:bodyPr>
          <a:lstStyle>
            <a:lvl1pPr lvl="0" rtl="0">
              <a:spcBef>
                <a:spcPts val="0"/>
              </a:spcBef>
              <a:spcAft>
                <a:spcPts val="0"/>
              </a:spcAft>
              <a:buSzPts val="4400"/>
              <a:buNone/>
              <a:defRPr sz="5867">
                <a:latin typeface="Franklin Gothic Medium" panose="020B0603020102020204" pitchFamily="34" charset="0"/>
              </a:defRPr>
            </a:lvl1pPr>
            <a:lvl2pPr lvl="1" rtl="0">
              <a:spcBef>
                <a:spcPts val="0"/>
              </a:spcBef>
              <a:spcAft>
                <a:spcPts val="0"/>
              </a:spcAft>
              <a:buSzPts val="4400"/>
              <a:buNone/>
              <a:defRPr sz="5867"/>
            </a:lvl2pPr>
            <a:lvl3pPr lvl="2" rtl="0">
              <a:spcBef>
                <a:spcPts val="0"/>
              </a:spcBef>
              <a:spcAft>
                <a:spcPts val="0"/>
              </a:spcAft>
              <a:buSzPts val="4400"/>
              <a:buNone/>
              <a:defRPr sz="5867"/>
            </a:lvl3pPr>
            <a:lvl4pPr lvl="3" rtl="0">
              <a:spcBef>
                <a:spcPts val="0"/>
              </a:spcBef>
              <a:spcAft>
                <a:spcPts val="0"/>
              </a:spcAft>
              <a:buSzPts val="4400"/>
              <a:buNone/>
              <a:defRPr sz="5867"/>
            </a:lvl4pPr>
            <a:lvl5pPr lvl="4" rtl="0">
              <a:spcBef>
                <a:spcPts val="0"/>
              </a:spcBef>
              <a:spcAft>
                <a:spcPts val="0"/>
              </a:spcAft>
              <a:buSzPts val="4400"/>
              <a:buNone/>
              <a:defRPr sz="5867"/>
            </a:lvl5pPr>
            <a:lvl6pPr lvl="5" rtl="0">
              <a:spcBef>
                <a:spcPts val="0"/>
              </a:spcBef>
              <a:spcAft>
                <a:spcPts val="0"/>
              </a:spcAft>
              <a:buSzPts val="4400"/>
              <a:buNone/>
              <a:defRPr sz="5867"/>
            </a:lvl6pPr>
            <a:lvl7pPr lvl="6" rtl="0">
              <a:spcBef>
                <a:spcPts val="0"/>
              </a:spcBef>
              <a:spcAft>
                <a:spcPts val="0"/>
              </a:spcAft>
              <a:buSzPts val="4400"/>
              <a:buNone/>
              <a:defRPr sz="5867"/>
            </a:lvl7pPr>
            <a:lvl8pPr lvl="7" rtl="0">
              <a:spcBef>
                <a:spcPts val="0"/>
              </a:spcBef>
              <a:spcAft>
                <a:spcPts val="0"/>
              </a:spcAft>
              <a:buSzPts val="4400"/>
              <a:buNone/>
              <a:defRPr sz="5867"/>
            </a:lvl8pPr>
            <a:lvl9pPr lvl="8" rtl="0">
              <a:spcBef>
                <a:spcPts val="0"/>
              </a:spcBef>
              <a:spcAft>
                <a:spcPts val="0"/>
              </a:spcAft>
              <a:buSzPts val="4400"/>
              <a:buNone/>
              <a:defRPr sz="5867"/>
            </a:lvl9pPr>
          </a:lstStyle>
          <a:p>
            <a:endParaRPr/>
          </a:p>
        </p:txBody>
      </p:sp>
      <p:sp>
        <p:nvSpPr>
          <p:cNvPr id="31" name="Google Shape;31;p3"/>
          <p:cNvSpPr txBox="1">
            <a:spLocks noGrp="1"/>
          </p:cNvSpPr>
          <p:nvPr>
            <p:ph type="subTitle" idx="1"/>
          </p:nvPr>
        </p:nvSpPr>
        <p:spPr>
          <a:xfrm>
            <a:off x="609600" y="3685136"/>
            <a:ext cx="7315200" cy="1046400"/>
          </a:xfrm>
          <a:prstGeom prst="rect">
            <a:avLst/>
          </a:prstGeom>
        </p:spPr>
        <p:txBody>
          <a:bodyPr spcFirstLastPara="1" wrap="square" lIns="0" tIns="0" rIns="0" bIns="0" anchor="t" anchorCtr="0">
            <a:noAutofit/>
          </a:bodyPr>
          <a:lstStyle>
            <a:lvl1pPr lvl="0" rtl="0">
              <a:spcBef>
                <a:spcPts val="0"/>
              </a:spcBef>
              <a:spcAft>
                <a:spcPts val="0"/>
              </a:spcAft>
              <a:buClr>
                <a:srgbClr val="FFFFFF"/>
              </a:buClr>
              <a:buSzPts val="2400"/>
              <a:buNone/>
              <a:defRPr>
                <a:solidFill>
                  <a:srgbClr val="FFFFFF"/>
                </a:solidFill>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13" name="Picture 12">
            <a:extLst>
              <a:ext uri="{FF2B5EF4-FFF2-40B4-BE49-F238E27FC236}">
                <a16:creationId xmlns:a16="http://schemas.microsoft.com/office/drawing/2014/main" id="{CF10FD7C-51DC-5275-E22F-1901C2CBD5C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307573" y="4467820"/>
            <a:ext cx="3771417" cy="2205923"/>
          </a:xfrm>
          <a:prstGeom prst="rect">
            <a:avLst/>
          </a:prstGeom>
        </p:spPr>
      </p:pic>
    </p:spTree>
    <p:extLst>
      <p:ext uri="{BB962C8B-B14F-4D97-AF65-F5344CB8AC3E}">
        <p14:creationId xmlns:p14="http://schemas.microsoft.com/office/powerpoint/2010/main" val="6698157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32"/>
        <p:cNvGrpSpPr/>
        <p:nvPr/>
      </p:nvGrpSpPr>
      <p:grpSpPr>
        <a:xfrm>
          <a:off x="0" y="0"/>
          <a:ext cx="0" cy="0"/>
          <a:chOff x="0" y="0"/>
          <a:chExt cx="0" cy="0"/>
        </a:xfrm>
      </p:grpSpPr>
      <p:grpSp>
        <p:nvGrpSpPr>
          <p:cNvPr id="33" name="Google Shape;33;p4"/>
          <p:cNvGrpSpPr/>
          <p:nvPr/>
        </p:nvGrpSpPr>
        <p:grpSpPr>
          <a:xfrm>
            <a:off x="-317" y="-267"/>
            <a:ext cx="12191761" cy="6857736"/>
            <a:chOff x="6316957" y="5250656"/>
            <a:chExt cx="2856819" cy="1606930"/>
          </a:xfrm>
        </p:grpSpPr>
        <p:sp>
          <p:nvSpPr>
            <p:cNvPr id="34" name="Google Shape;34;p4"/>
            <p:cNvSpPr/>
            <p:nvPr/>
          </p:nvSpPr>
          <p:spPr>
            <a:xfrm>
              <a:off x="6316957" y="6351571"/>
              <a:ext cx="2856819" cy="506015"/>
            </a:xfrm>
            <a:custGeom>
              <a:avLst/>
              <a:gdLst/>
              <a:ahLst/>
              <a:cxnLst/>
              <a:rect l="l" t="t" r="r" b="b"/>
              <a:pathLst>
                <a:path w="2856819" h="506015" extrusionOk="0">
                  <a:moveTo>
                    <a:pt x="0" y="506429"/>
                  </a:moveTo>
                  <a:lnTo>
                    <a:pt x="2856819" y="506429"/>
                  </a:lnTo>
                  <a:lnTo>
                    <a:pt x="2856819" y="0"/>
                  </a:lnTo>
                  <a:lnTo>
                    <a:pt x="0" y="503856"/>
                  </a:lnTo>
                  <a:lnTo>
                    <a:pt x="0" y="506429"/>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35" name="Google Shape;35;p4"/>
            <p:cNvSpPr/>
            <p:nvPr/>
          </p:nvSpPr>
          <p:spPr>
            <a:xfrm>
              <a:off x="7306428" y="5250656"/>
              <a:ext cx="1434361" cy="253007"/>
            </a:xfrm>
            <a:custGeom>
              <a:avLst/>
              <a:gdLst/>
              <a:ahLst/>
              <a:cxnLst/>
              <a:rect l="l" t="t" r="r" b="b"/>
              <a:pathLst>
                <a:path w="1434361" h="253007" extrusionOk="0">
                  <a:moveTo>
                    <a:pt x="481099" y="0"/>
                  </a:moveTo>
                  <a:lnTo>
                    <a:pt x="0" y="84851"/>
                  </a:lnTo>
                  <a:lnTo>
                    <a:pt x="0" y="253027"/>
                  </a:lnTo>
                  <a:lnTo>
                    <a:pt x="1434642" y="0"/>
                  </a:lnTo>
                  <a:lnTo>
                    <a:pt x="481099"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36" name="Google Shape;36;p4"/>
            <p:cNvSpPr/>
            <p:nvPr/>
          </p:nvSpPr>
          <p:spPr>
            <a:xfrm>
              <a:off x="6316957" y="6512738"/>
              <a:ext cx="989471" cy="342304"/>
            </a:xfrm>
            <a:custGeom>
              <a:avLst/>
              <a:gdLst/>
              <a:ahLst/>
              <a:cxnLst/>
              <a:rect l="l" t="t" r="r" b="b"/>
              <a:pathLst>
                <a:path w="989471" h="342304" extrusionOk="0">
                  <a:moveTo>
                    <a:pt x="0" y="174513"/>
                  </a:moveTo>
                  <a:lnTo>
                    <a:pt x="0" y="342688"/>
                  </a:lnTo>
                  <a:lnTo>
                    <a:pt x="989471" y="168176"/>
                  </a:lnTo>
                  <a:lnTo>
                    <a:pt x="989471" y="0"/>
                  </a:lnTo>
                  <a:lnTo>
                    <a:pt x="0" y="174513"/>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37" name="Google Shape;37;p4"/>
            <p:cNvSpPr/>
            <p:nvPr/>
          </p:nvSpPr>
          <p:spPr>
            <a:xfrm>
              <a:off x="8885118" y="6183395"/>
              <a:ext cx="288657" cy="218777"/>
            </a:xfrm>
            <a:custGeom>
              <a:avLst/>
              <a:gdLst/>
              <a:ahLst/>
              <a:cxnLst/>
              <a:rect l="l" t="t" r="r" b="b"/>
              <a:pathLst>
                <a:path w="288657" h="218777" extrusionOk="0">
                  <a:moveTo>
                    <a:pt x="288658" y="0"/>
                  </a:moveTo>
                  <a:lnTo>
                    <a:pt x="0" y="50911"/>
                  </a:lnTo>
                  <a:lnTo>
                    <a:pt x="0" y="219087"/>
                  </a:lnTo>
                  <a:lnTo>
                    <a:pt x="288658" y="168176"/>
                  </a:lnTo>
                  <a:lnTo>
                    <a:pt x="288658"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38" name="Google Shape;38;p4"/>
            <p:cNvSpPr/>
            <p:nvPr/>
          </p:nvSpPr>
          <p:spPr>
            <a:xfrm>
              <a:off x="6316957" y="6431950"/>
              <a:ext cx="493991" cy="254496"/>
            </a:xfrm>
            <a:custGeom>
              <a:avLst/>
              <a:gdLst/>
              <a:ahLst/>
              <a:cxnLst/>
              <a:rect l="l" t="t" r="r" b="b"/>
              <a:pathLst>
                <a:path w="493991" h="254496" extrusionOk="0">
                  <a:moveTo>
                    <a:pt x="0" y="87125"/>
                  </a:moveTo>
                  <a:lnTo>
                    <a:pt x="0" y="255301"/>
                  </a:lnTo>
                  <a:lnTo>
                    <a:pt x="493992" y="168176"/>
                  </a:lnTo>
                  <a:lnTo>
                    <a:pt x="493992" y="0"/>
                  </a:lnTo>
                  <a:lnTo>
                    <a:pt x="0" y="8712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39" name="Google Shape;39;p4"/>
            <p:cNvSpPr/>
            <p:nvPr/>
          </p:nvSpPr>
          <p:spPr>
            <a:xfrm>
              <a:off x="9029447" y="6015219"/>
              <a:ext cx="144328" cy="193476"/>
            </a:xfrm>
            <a:custGeom>
              <a:avLst/>
              <a:gdLst/>
              <a:ahLst/>
              <a:cxnLst/>
              <a:rect l="l" t="t" r="r" b="b"/>
              <a:pathLst>
                <a:path w="144328" h="193476" extrusionOk="0">
                  <a:moveTo>
                    <a:pt x="144329" y="0"/>
                  </a:moveTo>
                  <a:lnTo>
                    <a:pt x="0" y="25456"/>
                  </a:lnTo>
                  <a:lnTo>
                    <a:pt x="0" y="193632"/>
                  </a:lnTo>
                  <a:lnTo>
                    <a:pt x="144329" y="168176"/>
                  </a:lnTo>
                  <a:lnTo>
                    <a:pt x="144329"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40" name="Google Shape;40;p4"/>
            <p:cNvSpPr/>
            <p:nvPr/>
          </p:nvSpPr>
          <p:spPr>
            <a:xfrm>
              <a:off x="8224479" y="5847043"/>
              <a:ext cx="949297" cy="334863"/>
            </a:xfrm>
            <a:custGeom>
              <a:avLst/>
              <a:gdLst/>
              <a:ahLst/>
              <a:cxnLst/>
              <a:rect l="l" t="t" r="r" b="b"/>
              <a:pathLst>
                <a:path w="949297" h="334863" extrusionOk="0">
                  <a:moveTo>
                    <a:pt x="949297" y="0"/>
                  </a:moveTo>
                  <a:lnTo>
                    <a:pt x="0" y="167427"/>
                  </a:lnTo>
                  <a:lnTo>
                    <a:pt x="0" y="335603"/>
                  </a:lnTo>
                  <a:lnTo>
                    <a:pt x="949297" y="168176"/>
                  </a:lnTo>
                  <a:lnTo>
                    <a:pt x="949297" y="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41" name="Google Shape;41;p4"/>
            <p:cNvSpPr/>
            <p:nvPr/>
          </p:nvSpPr>
          <p:spPr>
            <a:xfrm>
              <a:off x="6677035" y="5840035"/>
              <a:ext cx="629392" cy="278308"/>
            </a:xfrm>
            <a:custGeom>
              <a:avLst/>
              <a:gdLst/>
              <a:ahLst/>
              <a:cxnLst/>
              <a:rect l="l" t="t" r="r" b="b"/>
              <a:pathLst>
                <a:path w="629392" h="278308" extrusionOk="0">
                  <a:moveTo>
                    <a:pt x="0" y="111005"/>
                  </a:moveTo>
                  <a:lnTo>
                    <a:pt x="0" y="279181"/>
                  </a:lnTo>
                  <a:lnTo>
                    <a:pt x="629393" y="168176"/>
                  </a:lnTo>
                  <a:lnTo>
                    <a:pt x="629393" y="0"/>
                  </a:lnTo>
                  <a:lnTo>
                    <a:pt x="0" y="111005"/>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42" name="Google Shape;42;p4"/>
            <p:cNvSpPr/>
            <p:nvPr/>
          </p:nvSpPr>
          <p:spPr>
            <a:xfrm>
              <a:off x="6316957" y="5716734"/>
              <a:ext cx="735035" cy="297656"/>
            </a:xfrm>
            <a:custGeom>
              <a:avLst/>
              <a:gdLst/>
              <a:ahLst/>
              <a:cxnLst/>
              <a:rect l="l" t="t" r="r" b="b"/>
              <a:pathLst>
                <a:path w="735035" h="297656" extrusionOk="0">
                  <a:moveTo>
                    <a:pt x="0" y="129638"/>
                  </a:moveTo>
                  <a:lnTo>
                    <a:pt x="0" y="297814"/>
                  </a:lnTo>
                  <a:lnTo>
                    <a:pt x="735036" y="168176"/>
                  </a:lnTo>
                  <a:lnTo>
                    <a:pt x="735036" y="0"/>
                  </a:lnTo>
                  <a:lnTo>
                    <a:pt x="0" y="129638"/>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43" name="Google Shape;43;p4"/>
            <p:cNvSpPr/>
            <p:nvPr/>
          </p:nvSpPr>
          <p:spPr>
            <a:xfrm>
              <a:off x="8703591" y="5342516"/>
              <a:ext cx="470184" cy="250031"/>
            </a:xfrm>
            <a:custGeom>
              <a:avLst/>
              <a:gdLst/>
              <a:ahLst/>
              <a:cxnLst/>
              <a:rect l="l" t="t" r="r" b="b"/>
              <a:pathLst>
                <a:path w="470184" h="250031" extrusionOk="0">
                  <a:moveTo>
                    <a:pt x="470185" y="0"/>
                  </a:moveTo>
                  <a:lnTo>
                    <a:pt x="0" y="82927"/>
                  </a:lnTo>
                  <a:lnTo>
                    <a:pt x="0" y="251103"/>
                  </a:lnTo>
                  <a:lnTo>
                    <a:pt x="470185" y="168176"/>
                  </a:lnTo>
                  <a:lnTo>
                    <a:pt x="470185" y="0"/>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44" name="Google Shape;44;p4"/>
          <p:cNvSpPr txBox="1">
            <a:spLocks noGrp="1"/>
          </p:cNvSpPr>
          <p:nvPr>
            <p:ph type="body" idx="1"/>
          </p:nvPr>
        </p:nvSpPr>
        <p:spPr>
          <a:xfrm>
            <a:off x="1342533" y="903600"/>
            <a:ext cx="6582400" cy="4546400"/>
          </a:xfrm>
          <a:prstGeom prst="rect">
            <a:avLst/>
          </a:prstGeom>
        </p:spPr>
        <p:txBody>
          <a:bodyPr spcFirstLastPara="1" wrap="square" lIns="0" tIns="0" rIns="0" bIns="0" anchor="t" anchorCtr="0">
            <a:noAutofit/>
          </a:bodyPr>
          <a:lstStyle>
            <a:lvl1pPr marL="609585" lvl="0" indent="-558786" rtl="0">
              <a:spcBef>
                <a:spcPts val="800"/>
              </a:spcBef>
              <a:spcAft>
                <a:spcPts val="0"/>
              </a:spcAft>
              <a:buClr>
                <a:srgbClr val="FFFFFF"/>
              </a:buClr>
              <a:buSzPts val="3000"/>
              <a:buChar char="▰"/>
              <a:defRPr sz="4000" b="1">
                <a:solidFill>
                  <a:srgbClr val="FFFFFF"/>
                </a:solidFill>
              </a:defRPr>
            </a:lvl1pPr>
            <a:lvl2pPr marL="1219170" lvl="1" indent="-558786" rtl="0">
              <a:spcBef>
                <a:spcPts val="0"/>
              </a:spcBef>
              <a:spcAft>
                <a:spcPts val="0"/>
              </a:spcAft>
              <a:buClr>
                <a:srgbClr val="FFFFFF"/>
              </a:buClr>
              <a:buSzPts val="3000"/>
              <a:buChar char="▰"/>
              <a:defRPr sz="4000">
                <a:solidFill>
                  <a:srgbClr val="FFFFFF"/>
                </a:solidFill>
              </a:defRPr>
            </a:lvl2pPr>
            <a:lvl3pPr marL="1828754" lvl="2" indent="-558786" rtl="0">
              <a:spcBef>
                <a:spcPts val="0"/>
              </a:spcBef>
              <a:spcAft>
                <a:spcPts val="0"/>
              </a:spcAft>
              <a:buClr>
                <a:srgbClr val="FFFFFF"/>
              </a:buClr>
              <a:buSzPts val="3000"/>
              <a:buChar char="▰"/>
              <a:defRPr sz="4000">
                <a:solidFill>
                  <a:srgbClr val="FFFFFF"/>
                </a:solidFill>
              </a:defRPr>
            </a:lvl3pPr>
            <a:lvl4pPr marL="2438339" lvl="3" indent="-558786" rtl="0">
              <a:spcBef>
                <a:spcPts val="0"/>
              </a:spcBef>
              <a:spcAft>
                <a:spcPts val="0"/>
              </a:spcAft>
              <a:buClr>
                <a:srgbClr val="FFFFFF"/>
              </a:buClr>
              <a:buSzPts val="3000"/>
              <a:buChar char="▰"/>
              <a:defRPr sz="4000">
                <a:solidFill>
                  <a:srgbClr val="FFFFFF"/>
                </a:solidFill>
              </a:defRPr>
            </a:lvl4pPr>
            <a:lvl5pPr marL="3047924" lvl="4" indent="-558786" rtl="0">
              <a:spcBef>
                <a:spcPts val="0"/>
              </a:spcBef>
              <a:spcAft>
                <a:spcPts val="0"/>
              </a:spcAft>
              <a:buClr>
                <a:srgbClr val="FFFFFF"/>
              </a:buClr>
              <a:buSzPts val="3000"/>
              <a:buChar char="▰"/>
              <a:defRPr sz="4000">
                <a:solidFill>
                  <a:srgbClr val="FFFFFF"/>
                </a:solidFill>
              </a:defRPr>
            </a:lvl5pPr>
            <a:lvl6pPr marL="3657509" lvl="5" indent="-558786" rtl="0">
              <a:spcBef>
                <a:spcPts val="0"/>
              </a:spcBef>
              <a:spcAft>
                <a:spcPts val="0"/>
              </a:spcAft>
              <a:buClr>
                <a:srgbClr val="FFFFFF"/>
              </a:buClr>
              <a:buSzPts val="3000"/>
              <a:buChar char="▰"/>
              <a:defRPr sz="4000">
                <a:solidFill>
                  <a:srgbClr val="FFFFFF"/>
                </a:solidFill>
              </a:defRPr>
            </a:lvl6pPr>
            <a:lvl7pPr marL="4267093" lvl="6" indent="-558786" rtl="0">
              <a:spcBef>
                <a:spcPts val="0"/>
              </a:spcBef>
              <a:spcAft>
                <a:spcPts val="0"/>
              </a:spcAft>
              <a:buClr>
                <a:srgbClr val="FFFFFF"/>
              </a:buClr>
              <a:buSzPts val="3000"/>
              <a:buChar char="▰"/>
              <a:defRPr sz="4000">
                <a:solidFill>
                  <a:srgbClr val="FFFFFF"/>
                </a:solidFill>
              </a:defRPr>
            </a:lvl7pPr>
            <a:lvl8pPr marL="4876678" lvl="7" indent="-558786" rtl="0">
              <a:spcBef>
                <a:spcPts val="0"/>
              </a:spcBef>
              <a:spcAft>
                <a:spcPts val="0"/>
              </a:spcAft>
              <a:buClr>
                <a:srgbClr val="FFFFFF"/>
              </a:buClr>
              <a:buSzPts val="3000"/>
              <a:buChar char="▰"/>
              <a:defRPr sz="4000">
                <a:solidFill>
                  <a:srgbClr val="FFFFFF"/>
                </a:solidFill>
              </a:defRPr>
            </a:lvl8pPr>
            <a:lvl9pPr marL="5486263" lvl="8" indent="-558786">
              <a:spcBef>
                <a:spcPts val="0"/>
              </a:spcBef>
              <a:spcAft>
                <a:spcPts val="0"/>
              </a:spcAft>
              <a:buClr>
                <a:srgbClr val="FFFFFF"/>
              </a:buClr>
              <a:buSzPts val="3000"/>
              <a:buChar char="▰"/>
              <a:defRPr sz="4000">
                <a:solidFill>
                  <a:srgbClr val="FFFFFF"/>
                </a:solidFill>
              </a:defRPr>
            </a:lvl9pPr>
          </a:lstStyle>
          <a:p>
            <a:endParaRPr/>
          </a:p>
        </p:txBody>
      </p:sp>
      <p:sp>
        <p:nvSpPr>
          <p:cNvPr id="45" name="Google Shape;45;p4"/>
          <p:cNvSpPr txBox="1"/>
          <p:nvPr/>
        </p:nvSpPr>
        <p:spPr>
          <a:xfrm>
            <a:off x="319400" y="452928"/>
            <a:ext cx="1036000" cy="871600"/>
          </a:xfrm>
          <a:prstGeom prst="rect">
            <a:avLst/>
          </a:prstGeom>
          <a:noFill/>
          <a:ln>
            <a:noFill/>
          </a:ln>
          <a:effectLst>
            <a:outerShdw blurRad="28575" dist="9525" dir="5400000" algn="bl" rotWithShape="0">
              <a:srgbClr val="00001A">
                <a:alpha val="15000"/>
              </a:srgbClr>
            </a:outerShdw>
          </a:effectLst>
        </p:spPr>
        <p:txBody>
          <a:bodyPr spcFirstLastPara="1" wrap="square" lIns="0" tIns="0" rIns="0" bIns="0" anchor="t" anchorCtr="0">
            <a:noAutofit/>
          </a:bodyPr>
          <a:lstStyle/>
          <a:p>
            <a:pPr marL="0" lvl="0" indent="0" algn="ctr" rtl="0">
              <a:spcBef>
                <a:spcPts val="0"/>
              </a:spcBef>
              <a:spcAft>
                <a:spcPts val="0"/>
              </a:spcAft>
              <a:buNone/>
            </a:pPr>
            <a:r>
              <a:rPr lang="en" sz="13333">
                <a:solidFill>
                  <a:srgbClr val="FFFFFF"/>
                </a:solidFill>
                <a:latin typeface="Chivo"/>
                <a:ea typeface="Chivo"/>
                <a:cs typeface="Chivo"/>
                <a:sym typeface="Chivo"/>
              </a:rPr>
              <a:t>“</a:t>
            </a:r>
            <a:endParaRPr sz="13333">
              <a:solidFill>
                <a:srgbClr val="FFFFFF"/>
              </a:solidFill>
              <a:latin typeface="Chivo"/>
              <a:ea typeface="Chivo"/>
              <a:cs typeface="Chivo"/>
              <a:sym typeface="Chivo"/>
            </a:endParaRPr>
          </a:p>
        </p:txBody>
      </p:sp>
      <p:pic>
        <p:nvPicPr>
          <p:cNvPr id="16" name="Picture 15">
            <a:extLst>
              <a:ext uri="{FF2B5EF4-FFF2-40B4-BE49-F238E27FC236}">
                <a16:creationId xmlns:a16="http://schemas.microsoft.com/office/drawing/2014/main" id="{088EF935-50D7-DBA8-31DD-C61DCD5A5B5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832884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4F2DF0EB-F2E9-8668-494D-4FF63CFA3F02}"/>
              </a:ext>
            </a:extLst>
          </p:cNvPr>
          <p:cNvSpPr>
            <a:spLocks noGrp="1"/>
          </p:cNvSpPr>
          <p:nvPr>
            <p:ph type="pic" sz="quarter" idx="36"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10" name="Text Placeholder 12">
            <a:extLst>
              <a:ext uri="{FF2B5EF4-FFF2-40B4-BE49-F238E27FC236}">
                <a16:creationId xmlns:a16="http://schemas.microsoft.com/office/drawing/2014/main" id="{60E45E1A-0E37-D13F-05DA-AA37802A16E0}"/>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a:t>Click to edit Master text styles</a:t>
            </a:r>
          </a:p>
        </p:txBody>
      </p:sp>
      <p:sp>
        <p:nvSpPr>
          <p:cNvPr id="14" name="Text Placeholder 13">
            <a:extLst>
              <a:ext uri="{FF2B5EF4-FFF2-40B4-BE49-F238E27FC236}">
                <a16:creationId xmlns:a16="http://schemas.microsoft.com/office/drawing/2014/main" id="{60A7BD78-1E06-5B0A-A85A-4F1FE60E201B}"/>
              </a:ext>
            </a:extLst>
          </p:cNvPr>
          <p:cNvSpPr>
            <a:spLocks noGrp="1"/>
          </p:cNvSpPr>
          <p:nvPr>
            <p:ph type="body" sz="quarter" idx="39"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graphicFrame>
        <p:nvGraphicFramePr>
          <p:cNvPr id="4" name="Object 3" hidden="1">
            <a:extLst>
              <a:ext uri="{FF2B5EF4-FFF2-40B4-BE49-F238E27FC236}">
                <a16:creationId xmlns:a16="http://schemas.microsoft.com/office/drawing/2014/main" id="{D653EF3F-4BF0-034F-CF9C-56920D73C04C}"/>
              </a:ext>
            </a:extLst>
          </p:cNvPr>
          <p:cNvGraphicFramePr>
            <a:graphicFrameLocks noChangeAspect="1"/>
          </p:cNvGraphicFramePr>
          <p:nvPr>
            <p:custDataLst>
              <p:tags r:id="rId1"/>
            </p:custDataLst>
            <p:extLst>
              <p:ext uri="{D42A27DB-BD31-4B8C-83A1-F6EECF244321}">
                <p14:modId xmlns:p14="http://schemas.microsoft.com/office/powerpoint/2010/main" val="194670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D653EF3F-4BF0-034F-CF9C-56920D73C0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Titel 57">
            <a:extLst>
              <a:ext uri="{FF2B5EF4-FFF2-40B4-BE49-F238E27FC236}">
                <a16:creationId xmlns:a16="http://schemas.microsoft.com/office/drawing/2014/main" id="{2F72976F-223C-63A0-32F9-4BB45CFC3EF4}"/>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tx2"/>
                </a:solidFill>
              </a:defRPr>
            </a:lvl1pPr>
          </a:lstStyle>
          <a:p>
            <a:r>
              <a:rPr lang="en-US" noProof="0" dirty="0"/>
              <a:t>Presentation title</a:t>
            </a:r>
          </a:p>
        </p:txBody>
      </p:sp>
      <p:sp>
        <p:nvSpPr>
          <p:cNvPr id="3" name="Datumsplatzhalter 58">
            <a:extLst>
              <a:ext uri="{FF2B5EF4-FFF2-40B4-BE49-F238E27FC236}">
                <a16:creationId xmlns:a16="http://schemas.microsoft.com/office/drawing/2014/main" id="{21CE75A4-EBFF-B9A3-6530-2A15A1136177}"/>
              </a:ext>
            </a:extLst>
          </p:cNvPr>
          <p:cNvSpPr>
            <a:spLocks noGrp="1"/>
          </p:cNvSpPr>
          <p:nvPr>
            <p:ph type="dt" sz="half" idx="10"/>
          </p:nvPr>
        </p:nvSpPr>
        <p:spPr bwMode="gray">
          <a:xfrm>
            <a:off x="1666016" y="4341166"/>
            <a:ext cx="5322957" cy="295466"/>
          </a:xfrm>
          <a:prstGeom prst="rect">
            <a:avLst/>
          </a:prstGeom>
        </p:spPr>
        <p:txBody>
          <a:bodyPr>
            <a:spAutoFit/>
          </a:bodyPr>
          <a:lstStyle>
            <a:lvl1pPr>
              <a:defRPr sz="1200">
                <a:solidFill>
                  <a:schemeClr val="tx2"/>
                </a:solidFill>
              </a:defRPr>
            </a:lvl1pPr>
          </a:lstStyle>
          <a:p>
            <a:r>
              <a:rPr lang="en-US"/>
              <a:t>01.23.2023</a:t>
            </a:r>
            <a:endParaRPr lang="en-US" dirty="0"/>
          </a:p>
        </p:txBody>
      </p:sp>
      <p:sp>
        <p:nvSpPr>
          <p:cNvPr id="11" name="Fußzeilenplatzhalter 59">
            <a:extLst>
              <a:ext uri="{FF2B5EF4-FFF2-40B4-BE49-F238E27FC236}">
                <a16:creationId xmlns:a16="http://schemas.microsoft.com/office/drawing/2014/main" id="{F04CED20-D8AC-13F7-C65E-65C19DD30EDC}"/>
              </a:ext>
            </a:extLst>
          </p:cNvPr>
          <p:cNvSpPr>
            <a:spLocks noGrp="1"/>
          </p:cNvSpPr>
          <p:nvPr>
            <p:ph type="ftr" sz="quarter" idx="11"/>
          </p:nvPr>
        </p:nvSpPr>
        <p:spPr bwMode="gray">
          <a:xfrm>
            <a:off x="1666016" y="3983600"/>
            <a:ext cx="5322957" cy="295466"/>
          </a:xfrm>
          <a:prstGeom prst="rect">
            <a:avLst/>
          </a:prstGeom>
        </p:spPr>
        <p:txBody>
          <a:bodyPr anchor="b">
            <a:spAutoFit/>
          </a:bodyPr>
          <a:lstStyle>
            <a:lvl1pPr>
              <a:defRPr sz="1200">
                <a:solidFill>
                  <a:schemeClr val="tx2"/>
                </a:solidFill>
              </a:defRPr>
            </a:lvl1pPr>
          </a:lstStyle>
          <a:p>
            <a:r>
              <a:rPr lang="en-US"/>
              <a:t>Basalite Meeting | Delta BC | Ignacio Cariaga &amp; Brandon Livingstone </a:t>
            </a:r>
            <a:endParaRPr lang="en-US" dirty="0"/>
          </a:p>
        </p:txBody>
      </p:sp>
      <p:sp>
        <p:nvSpPr>
          <p:cNvPr id="2" name="Text Placeholder 9">
            <a:extLst>
              <a:ext uri="{FF2B5EF4-FFF2-40B4-BE49-F238E27FC236}">
                <a16:creationId xmlns:a16="http://schemas.microsoft.com/office/drawing/2014/main" id="{5AFB9B42-A3F6-A070-23F6-9182CF3EA37F}"/>
              </a:ext>
            </a:extLst>
          </p:cNvPr>
          <p:cNvSpPr>
            <a:spLocks noGrp="1"/>
          </p:cNvSpPr>
          <p:nvPr>
            <p:ph type="body" sz="quarter" idx="19" hasCustomPrompt="1"/>
          </p:nvPr>
        </p:nvSpPr>
        <p:spPr>
          <a:xfrm>
            <a:off x="11295111" y="5981426"/>
            <a:ext cx="508274" cy="508274"/>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dirty="0"/>
              <a:t> </a:t>
            </a:r>
            <a:endParaRPr lang="en-US" dirty="0"/>
          </a:p>
        </p:txBody>
      </p:sp>
      <p:sp>
        <p:nvSpPr>
          <p:cNvPr id="12" name="Textfeld 8">
            <a:extLst>
              <a:ext uri="{FF2B5EF4-FFF2-40B4-BE49-F238E27FC236}">
                <a16:creationId xmlns:a16="http://schemas.microsoft.com/office/drawing/2014/main" id="{91098B16-BD4A-456C-BD0B-21AEB70BAFF9}"/>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5" name="Textfeld 8">
            <a:extLst>
              <a:ext uri="{FF2B5EF4-FFF2-40B4-BE49-F238E27FC236}">
                <a16:creationId xmlns:a16="http://schemas.microsoft.com/office/drawing/2014/main" id="{E26D6A34-1ECC-4811-9E69-6E7186264336}"/>
              </a:ext>
            </a:extLst>
          </p:cNvPr>
          <p:cNvSpPr txBox="1"/>
          <p:nvPr userDrawn="1"/>
        </p:nvSpPr>
        <p:spPr>
          <a:xfrm>
            <a:off x="2472508"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solidFill>
                <a:latin typeface="+mn-lt"/>
                <a:ea typeface="+mn-ea"/>
                <a:cs typeface="Calibri Light" panose="020F0302020204030204" pitchFamily="34" charset="0"/>
              </a:rPr>
              <a:t>mm.dd.yyyy</a:t>
            </a:r>
            <a:endParaRPr lang="en-US" sz="800" kern="1200" noProof="0" dirty="0">
              <a:solidFill>
                <a:schemeClr val="tx1"/>
              </a:solidFill>
              <a:latin typeface="+mn-lt"/>
              <a:ea typeface="+mn-ea"/>
              <a:cs typeface="Calibri Light" panose="020F0302020204030204" pitchFamily="34" charset="0"/>
            </a:endParaRPr>
          </a:p>
        </p:txBody>
      </p:sp>
      <p:pic>
        <p:nvPicPr>
          <p:cNvPr id="16" name="Graphic 15">
            <a:extLst>
              <a:ext uri="{FF2B5EF4-FFF2-40B4-BE49-F238E27FC236}">
                <a16:creationId xmlns:a16="http://schemas.microsoft.com/office/drawing/2014/main" id="{EDD0334D-1C79-4B45-A255-242D81832D2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515" y="6410506"/>
            <a:ext cx="1062384" cy="103228"/>
          </a:xfrm>
          <a:prstGeom prst="rect">
            <a:avLst/>
          </a:prstGeom>
        </p:spPr>
      </p:pic>
    </p:spTree>
    <p:extLst>
      <p:ext uri="{BB962C8B-B14F-4D97-AF65-F5344CB8AC3E}">
        <p14:creationId xmlns:p14="http://schemas.microsoft.com/office/powerpoint/2010/main" val="12144673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 3 columns" preserve="1">
  <p:cSld name="1_Title + 3 columns">
    <p:spTree>
      <p:nvGrpSpPr>
        <p:cNvPr id="1" name="Shape 83"/>
        <p:cNvGrpSpPr/>
        <p:nvPr/>
      </p:nvGrpSpPr>
      <p:grpSpPr>
        <a:xfrm>
          <a:off x="0" y="0"/>
          <a:ext cx="0" cy="0"/>
          <a:chOff x="0" y="0"/>
          <a:chExt cx="0" cy="0"/>
        </a:xfrm>
      </p:grpSpPr>
      <p:grpSp>
        <p:nvGrpSpPr>
          <p:cNvPr id="84" name="Google Shape;84;p8"/>
          <p:cNvGrpSpPr/>
          <p:nvPr userDrawn="1"/>
        </p:nvGrpSpPr>
        <p:grpSpPr>
          <a:xfrm flipH="1">
            <a:off x="-159" y="-141"/>
            <a:ext cx="12191761" cy="6857756"/>
            <a:chOff x="2973586" y="2777133"/>
            <a:chExt cx="2856819" cy="1606935"/>
          </a:xfrm>
        </p:grpSpPr>
        <p:sp>
          <p:nvSpPr>
            <p:cNvPr id="85" name="Google Shape;85;p8"/>
            <p:cNvSpPr/>
            <p:nvPr/>
          </p:nvSpPr>
          <p:spPr>
            <a:xfrm>
              <a:off x="2973586" y="2944901"/>
              <a:ext cx="2856819" cy="1439167"/>
            </a:xfrm>
            <a:custGeom>
              <a:avLst/>
              <a:gdLst/>
              <a:ahLst/>
              <a:cxnLst/>
              <a:rect l="l" t="t" r="r" b="b"/>
              <a:pathLst>
                <a:path w="2856819" h="1439167" extrusionOk="0">
                  <a:moveTo>
                    <a:pt x="0" y="1439576"/>
                  </a:moveTo>
                  <a:lnTo>
                    <a:pt x="2856819" y="1439576"/>
                  </a:lnTo>
                  <a:lnTo>
                    <a:pt x="2856819" y="0"/>
                  </a:lnTo>
                  <a:lnTo>
                    <a:pt x="0" y="503855"/>
                  </a:lnTo>
                  <a:lnTo>
                    <a:pt x="0" y="1439576"/>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6" name="Google Shape;86;p8"/>
            <p:cNvSpPr/>
            <p:nvPr/>
          </p:nvSpPr>
          <p:spPr>
            <a:xfrm>
              <a:off x="3669936" y="2777133"/>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7" name="Google Shape;87;p8"/>
            <p:cNvSpPr/>
            <p:nvPr/>
          </p:nvSpPr>
          <p:spPr>
            <a:xfrm>
              <a:off x="2973586" y="2900141"/>
              <a:ext cx="249971" cy="211335"/>
            </a:xfrm>
            <a:custGeom>
              <a:avLst/>
              <a:gdLst/>
              <a:ahLst/>
              <a:cxnLst/>
              <a:rect l="l" t="t" r="r" b="b"/>
              <a:pathLst>
                <a:path w="249971" h="211335" extrusionOk="0">
                  <a:moveTo>
                    <a:pt x="0" y="44087"/>
                  </a:moveTo>
                  <a:lnTo>
                    <a:pt x="0" y="212263"/>
                  </a:lnTo>
                  <a:lnTo>
                    <a:pt x="249972" y="168176"/>
                  </a:lnTo>
                  <a:lnTo>
                    <a:pt x="249972" y="0"/>
                  </a:lnTo>
                  <a:lnTo>
                    <a:pt x="0" y="44087"/>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8" name="Google Shape;88;p8"/>
            <p:cNvSpPr/>
            <p:nvPr/>
          </p:nvSpPr>
          <p:spPr>
            <a:xfrm>
              <a:off x="2973586" y="3176135"/>
              <a:ext cx="592194" cy="272355"/>
            </a:xfrm>
            <a:custGeom>
              <a:avLst/>
              <a:gdLst/>
              <a:ahLst/>
              <a:cxnLst/>
              <a:rect l="l" t="t" r="r" b="b"/>
              <a:pathLst>
                <a:path w="592194" h="272355" extrusionOk="0">
                  <a:moveTo>
                    <a:pt x="0" y="104445"/>
                  </a:moveTo>
                  <a:lnTo>
                    <a:pt x="0" y="272620"/>
                  </a:lnTo>
                  <a:lnTo>
                    <a:pt x="592195" y="168176"/>
                  </a:lnTo>
                  <a:lnTo>
                    <a:pt x="592195" y="0"/>
                  </a:lnTo>
                  <a:lnTo>
                    <a:pt x="0" y="104445"/>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9" name="Google Shape;89;p8"/>
            <p:cNvSpPr/>
            <p:nvPr/>
          </p:nvSpPr>
          <p:spPr>
            <a:xfrm>
              <a:off x="5446520" y="2777133"/>
              <a:ext cx="383885" cy="235148"/>
            </a:xfrm>
            <a:custGeom>
              <a:avLst/>
              <a:gdLst/>
              <a:ahLst/>
              <a:cxnLst/>
              <a:rect l="l" t="t" r="r" b="b"/>
              <a:pathLst>
                <a:path w="383885" h="235148" extrusionOk="0">
                  <a:moveTo>
                    <a:pt x="383885" y="0"/>
                  </a:moveTo>
                  <a:lnTo>
                    <a:pt x="381571" y="0"/>
                  </a:lnTo>
                  <a:lnTo>
                    <a:pt x="0" y="67297"/>
                  </a:lnTo>
                  <a:lnTo>
                    <a:pt x="0" y="235473"/>
                  </a:lnTo>
                  <a:lnTo>
                    <a:pt x="383885" y="167768"/>
                  </a:lnTo>
                  <a:lnTo>
                    <a:pt x="38388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90" name="Google Shape;90;p8"/>
            <p:cNvSpPr/>
            <p:nvPr/>
          </p:nvSpPr>
          <p:spPr>
            <a:xfrm>
              <a:off x="2973586" y="2964659"/>
              <a:ext cx="837702" cy="315515"/>
            </a:xfrm>
            <a:custGeom>
              <a:avLst/>
              <a:gdLst/>
              <a:ahLst/>
              <a:cxnLst/>
              <a:rect l="l" t="t" r="r" b="b"/>
              <a:pathLst>
                <a:path w="837702" h="315515" extrusionOk="0">
                  <a:moveTo>
                    <a:pt x="0" y="147745"/>
                  </a:moveTo>
                  <a:lnTo>
                    <a:pt x="0" y="315920"/>
                  </a:lnTo>
                  <a:lnTo>
                    <a:pt x="837703" y="168176"/>
                  </a:lnTo>
                  <a:lnTo>
                    <a:pt x="837703" y="0"/>
                  </a:lnTo>
                  <a:lnTo>
                    <a:pt x="0" y="14774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91" name="Google Shape;91;p8"/>
          <p:cNvSpPr txBox="1">
            <a:spLocks noGrp="1"/>
          </p:cNvSpPr>
          <p:nvPr>
            <p:ph type="title"/>
          </p:nvPr>
        </p:nvSpPr>
        <p:spPr>
          <a:xfrm>
            <a:off x="609600" y="-133"/>
            <a:ext cx="109728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 name="Google Shape;92;p8"/>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3" name="Google Shape;93;p8"/>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4" name="Google Shape;94;p8"/>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pic>
        <p:nvPicPr>
          <p:cNvPr id="14" name="Picture 13">
            <a:extLst>
              <a:ext uri="{FF2B5EF4-FFF2-40B4-BE49-F238E27FC236}">
                <a16:creationId xmlns:a16="http://schemas.microsoft.com/office/drawing/2014/main" id="{8F413A36-B3C1-95F5-5DFA-63289D4B3F1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2924719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115"/>
        <p:cNvGrpSpPr/>
        <p:nvPr/>
      </p:nvGrpSpPr>
      <p:grpSpPr>
        <a:xfrm>
          <a:off x="0" y="0"/>
          <a:ext cx="0" cy="0"/>
          <a:chOff x="0" y="0"/>
          <a:chExt cx="0" cy="0"/>
        </a:xfrm>
      </p:grpSpPr>
      <p:grpSp>
        <p:nvGrpSpPr>
          <p:cNvPr id="116" name="Google Shape;116;p11"/>
          <p:cNvGrpSpPr/>
          <p:nvPr userDrawn="1"/>
        </p:nvGrpSpPr>
        <p:grpSpPr>
          <a:xfrm>
            <a:off x="-159" y="1"/>
            <a:ext cx="12191761" cy="6859497"/>
            <a:chOff x="2973586" y="0"/>
            <a:chExt cx="2856819" cy="1607343"/>
          </a:xfrm>
        </p:grpSpPr>
        <p:sp>
          <p:nvSpPr>
            <p:cNvPr id="117" name="Google Shape;117;p11"/>
            <p:cNvSpPr/>
            <p:nvPr/>
          </p:nvSpPr>
          <p:spPr>
            <a:xfrm>
              <a:off x="2973586" y="0"/>
              <a:ext cx="2856819" cy="1607343"/>
            </a:xfrm>
            <a:custGeom>
              <a:avLst/>
              <a:gdLst/>
              <a:ahLst/>
              <a:cxnLst/>
              <a:rect l="l" t="t" r="r" b="b"/>
              <a:pathLst>
                <a:path w="2856819" h="1607343" extrusionOk="0">
                  <a:moveTo>
                    <a:pt x="0" y="1607344"/>
                  </a:moveTo>
                  <a:lnTo>
                    <a:pt x="2856819" y="1607344"/>
                  </a:lnTo>
                  <a:lnTo>
                    <a:pt x="2856819" y="0"/>
                  </a:lnTo>
                  <a:lnTo>
                    <a:pt x="2854505" y="0"/>
                  </a:lnTo>
                  <a:lnTo>
                    <a:pt x="0" y="503447"/>
                  </a:lnTo>
                  <a:lnTo>
                    <a:pt x="0" y="160734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18" name="Google Shape;118;p11"/>
            <p:cNvSpPr/>
            <p:nvPr/>
          </p:nvSpPr>
          <p:spPr>
            <a:xfrm>
              <a:off x="2973586" y="278850"/>
              <a:ext cx="319904" cy="223242"/>
            </a:xfrm>
            <a:custGeom>
              <a:avLst/>
              <a:gdLst/>
              <a:ahLst/>
              <a:cxnLst/>
              <a:rect l="l" t="t" r="r" b="b"/>
              <a:pathLst>
                <a:path w="319904" h="223242" extrusionOk="0">
                  <a:moveTo>
                    <a:pt x="0" y="56421"/>
                  </a:moveTo>
                  <a:lnTo>
                    <a:pt x="0" y="224597"/>
                  </a:lnTo>
                  <a:lnTo>
                    <a:pt x="319904" y="168176"/>
                  </a:lnTo>
                  <a:lnTo>
                    <a:pt x="319904" y="0"/>
                  </a:lnTo>
                  <a:lnTo>
                    <a:pt x="0" y="56421"/>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19" name="Google Shape;119;p11"/>
            <p:cNvSpPr/>
            <p:nvPr/>
          </p:nvSpPr>
          <p:spPr>
            <a:xfrm>
              <a:off x="4446633" y="0"/>
              <a:ext cx="1380795" cy="242589"/>
            </a:xfrm>
            <a:custGeom>
              <a:avLst/>
              <a:gdLst/>
              <a:ahLst/>
              <a:cxnLst/>
              <a:rect l="l" t="t" r="r" b="b"/>
              <a:pathLst>
                <a:path w="1380795" h="242589" extrusionOk="0">
                  <a:moveTo>
                    <a:pt x="427914" y="0"/>
                  </a:moveTo>
                  <a:lnTo>
                    <a:pt x="0" y="75471"/>
                  </a:lnTo>
                  <a:lnTo>
                    <a:pt x="0" y="243647"/>
                  </a:lnTo>
                  <a:lnTo>
                    <a:pt x="1381458" y="0"/>
                  </a:lnTo>
                  <a:lnTo>
                    <a:pt x="427914" y="0"/>
                  </a:lnTo>
                  <a:close/>
                </a:path>
              </a:pathLst>
            </a:custGeom>
            <a:gradFill>
              <a:gsLst>
                <a:gs pos="0">
                  <a:srgbClr val="FFFFFF">
                    <a:alpha val="4705"/>
                  </a:srgbClr>
                </a:gs>
                <a:gs pos="100000">
                  <a:srgbClr val="FFFFFF">
                    <a:alpha val="11764"/>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0" name="Google Shape;120;p11"/>
            <p:cNvSpPr/>
            <p:nvPr/>
          </p:nvSpPr>
          <p:spPr>
            <a:xfrm>
              <a:off x="2973586" y="131406"/>
              <a:ext cx="202358" cy="202406"/>
            </a:xfrm>
            <a:custGeom>
              <a:avLst/>
              <a:gdLst/>
              <a:ahLst/>
              <a:cxnLst/>
              <a:rect l="l" t="t" r="r" b="b"/>
              <a:pathLst>
                <a:path w="202358" h="202406" extrusionOk="0">
                  <a:moveTo>
                    <a:pt x="0" y="35689"/>
                  </a:moveTo>
                  <a:lnTo>
                    <a:pt x="0" y="203865"/>
                  </a:lnTo>
                  <a:lnTo>
                    <a:pt x="202358" y="168176"/>
                  </a:lnTo>
                  <a:lnTo>
                    <a:pt x="202358" y="0"/>
                  </a:lnTo>
                  <a:lnTo>
                    <a:pt x="0" y="35689"/>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21" name="Google Shape;121;p11"/>
            <p:cNvSpPr/>
            <p:nvPr/>
          </p:nvSpPr>
          <p:spPr>
            <a:xfrm>
              <a:off x="3669936" y="0"/>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pic>
        <p:nvPicPr>
          <p:cNvPr id="9" name="Picture 8">
            <a:extLst>
              <a:ext uri="{FF2B5EF4-FFF2-40B4-BE49-F238E27FC236}">
                <a16:creationId xmlns:a16="http://schemas.microsoft.com/office/drawing/2014/main" id="{7D60A141-D28E-44F4-F1EE-E40810C755B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
        <p:nvSpPr>
          <p:cNvPr id="10" name="Google Shape;91;p8">
            <a:extLst>
              <a:ext uri="{FF2B5EF4-FFF2-40B4-BE49-F238E27FC236}">
                <a16:creationId xmlns:a16="http://schemas.microsoft.com/office/drawing/2014/main" id="{07CB3C4E-7D46-9AE9-CC97-9084CA7A81CC}"/>
              </a:ext>
            </a:extLst>
          </p:cNvPr>
          <p:cNvSpPr txBox="1">
            <a:spLocks noGrp="1"/>
          </p:cNvSpPr>
          <p:nvPr>
            <p:ph type="title"/>
          </p:nvPr>
        </p:nvSpPr>
        <p:spPr>
          <a:xfrm>
            <a:off x="609600" y="-133"/>
            <a:ext cx="73152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11" name="Google Shape;92;p8">
            <a:extLst>
              <a:ext uri="{FF2B5EF4-FFF2-40B4-BE49-F238E27FC236}">
                <a16:creationId xmlns:a16="http://schemas.microsoft.com/office/drawing/2014/main" id="{D9FBEFC5-111B-F846-C2FC-3DDA0D13304D}"/>
              </a:ext>
            </a:extLst>
          </p:cNvPr>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12" name="Google Shape;93;p8">
            <a:extLst>
              <a:ext uri="{FF2B5EF4-FFF2-40B4-BE49-F238E27FC236}">
                <a16:creationId xmlns:a16="http://schemas.microsoft.com/office/drawing/2014/main" id="{A6B73FF2-803C-AA01-A44A-E4485CE865DA}"/>
              </a:ext>
            </a:extLst>
          </p:cNvPr>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13" name="Google Shape;94;p8">
            <a:extLst>
              <a:ext uri="{FF2B5EF4-FFF2-40B4-BE49-F238E27FC236}">
                <a16:creationId xmlns:a16="http://schemas.microsoft.com/office/drawing/2014/main" id="{C7201E89-04F3-CFC6-6392-36A6050C9969}"/>
              </a:ext>
            </a:extLst>
          </p:cNvPr>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Tree>
    <p:extLst>
      <p:ext uri="{BB962C8B-B14F-4D97-AF65-F5344CB8AC3E}">
        <p14:creationId xmlns:p14="http://schemas.microsoft.com/office/powerpoint/2010/main" val="22953475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 3 columns" preserve="1">
  <p:cSld name="1_Title + 3 columns">
    <p:spTree>
      <p:nvGrpSpPr>
        <p:cNvPr id="1" name="Shape 83"/>
        <p:cNvGrpSpPr/>
        <p:nvPr/>
      </p:nvGrpSpPr>
      <p:grpSpPr>
        <a:xfrm>
          <a:off x="0" y="0"/>
          <a:ext cx="0" cy="0"/>
          <a:chOff x="0" y="0"/>
          <a:chExt cx="0" cy="0"/>
        </a:xfrm>
      </p:grpSpPr>
      <p:grpSp>
        <p:nvGrpSpPr>
          <p:cNvPr id="84" name="Google Shape;84;p8"/>
          <p:cNvGrpSpPr/>
          <p:nvPr userDrawn="1"/>
        </p:nvGrpSpPr>
        <p:grpSpPr>
          <a:xfrm>
            <a:off x="-159" y="-144"/>
            <a:ext cx="12191761" cy="2865083"/>
            <a:chOff x="2973586" y="2777133"/>
            <a:chExt cx="2856819" cy="671357"/>
          </a:xfrm>
        </p:grpSpPr>
        <p:sp>
          <p:nvSpPr>
            <p:cNvPr id="86" name="Google Shape;86;p8"/>
            <p:cNvSpPr/>
            <p:nvPr/>
          </p:nvSpPr>
          <p:spPr>
            <a:xfrm>
              <a:off x="3669936" y="2777133"/>
              <a:ext cx="1203732" cy="211335"/>
            </a:xfrm>
            <a:custGeom>
              <a:avLst/>
              <a:gdLst/>
              <a:ahLst/>
              <a:cxnLst/>
              <a:rect l="l" t="t" r="r" b="b"/>
              <a:pathLst>
                <a:path w="1203732" h="211335" extrusionOk="0">
                  <a:moveTo>
                    <a:pt x="251070" y="0"/>
                  </a:moveTo>
                  <a:lnTo>
                    <a:pt x="0" y="44281"/>
                  </a:lnTo>
                  <a:lnTo>
                    <a:pt x="0" y="212457"/>
                  </a:lnTo>
                  <a:lnTo>
                    <a:pt x="1204612" y="0"/>
                  </a:lnTo>
                  <a:lnTo>
                    <a:pt x="251070" y="0"/>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7" name="Google Shape;87;p8"/>
            <p:cNvSpPr/>
            <p:nvPr/>
          </p:nvSpPr>
          <p:spPr>
            <a:xfrm>
              <a:off x="2973586" y="2900141"/>
              <a:ext cx="249971" cy="211335"/>
            </a:xfrm>
            <a:custGeom>
              <a:avLst/>
              <a:gdLst/>
              <a:ahLst/>
              <a:cxnLst/>
              <a:rect l="l" t="t" r="r" b="b"/>
              <a:pathLst>
                <a:path w="249971" h="211335" extrusionOk="0">
                  <a:moveTo>
                    <a:pt x="0" y="44087"/>
                  </a:moveTo>
                  <a:lnTo>
                    <a:pt x="0" y="212263"/>
                  </a:lnTo>
                  <a:lnTo>
                    <a:pt x="249972" y="168176"/>
                  </a:lnTo>
                  <a:lnTo>
                    <a:pt x="249972" y="0"/>
                  </a:lnTo>
                  <a:lnTo>
                    <a:pt x="0" y="44087"/>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8" name="Google Shape;88;p8"/>
            <p:cNvSpPr/>
            <p:nvPr userDrawn="1"/>
          </p:nvSpPr>
          <p:spPr>
            <a:xfrm>
              <a:off x="2973586" y="3176135"/>
              <a:ext cx="592194" cy="272355"/>
            </a:xfrm>
            <a:custGeom>
              <a:avLst/>
              <a:gdLst/>
              <a:ahLst/>
              <a:cxnLst/>
              <a:rect l="l" t="t" r="r" b="b"/>
              <a:pathLst>
                <a:path w="592194" h="272355" extrusionOk="0">
                  <a:moveTo>
                    <a:pt x="0" y="104445"/>
                  </a:moveTo>
                  <a:lnTo>
                    <a:pt x="0" y="272620"/>
                  </a:lnTo>
                  <a:lnTo>
                    <a:pt x="592195" y="168176"/>
                  </a:lnTo>
                  <a:lnTo>
                    <a:pt x="592195" y="0"/>
                  </a:lnTo>
                  <a:lnTo>
                    <a:pt x="0" y="104445"/>
                  </a:lnTo>
                  <a:close/>
                </a:path>
              </a:pathLst>
            </a:custGeom>
            <a:gradFill>
              <a:gsLst>
                <a:gs pos="0">
                  <a:srgbClr val="00001A">
                    <a:alpha val="1960"/>
                  </a:srgbClr>
                </a:gs>
                <a:gs pos="100000">
                  <a:srgbClr val="00001A">
                    <a:alpha val="7843"/>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9" name="Google Shape;89;p8"/>
            <p:cNvSpPr/>
            <p:nvPr/>
          </p:nvSpPr>
          <p:spPr>
            <a:xfrm>
              <a:off x="5446520" y="2777133"/>
              <a:ext cx="383885" cy="235148"/>
            </a:xfrm>
            <a:custGeom>
              <a:avLst/>
              <a:gdLst/>
              <a:ahLst/>
              <a:cxnLst/>
              <a:rect l="l" t="t" r="r" b="b"/>
              <a:pathLst>
                <a:path w="383885" h="235148" extrusionOk="0">
                  <a:moveTo>
                    <a:pt x="383885" y="0"/>
                  </a:moveTo>
                  <a:lnTo>
                    <a:pt x="381571" y="0"/>
                  </a:lnTo>
                  <a:lnTo>
                    <a:pt x="0" y="67297"/>
                  </a:lnTo>
                  <a:lnTo>
                    <a:pt x="0" y="235473"/>
                  </a:lnTo>
                  <a:lnTo>
                    <a:pt x="383885" y="167768"/>
                  </a:lnTo>
                  <a:lnTo>
                    <a:pt x="383885" y="0"/>
                  </a:lnTo>
                  <a:close/>
                </a:path>
              </a:pathLst>
            </a:custGeom>
            <a:gradFill>
              <a:gsLst>
                <a:gs pos="0">
                  <a:srgbClr val="00001A">
                    <a:alpha val="7843"/>
                  </a:srgbClr>
                </a:gs>
                <a:gs pos="100000">
                  <a:srgbClr val="00001A">
                    <a:alpha val="1960"/>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90" name="Google Shape;90;p8"/>
            <p:cNvSpPr/>
            <p:nvPr/>
          </p:nvSpPr>
          <p:spPr>
            <a:xfrm>
              <a:off x="2973586" y="2964659"/>
              <a:ext cx="837702" cy="315515"/>
            </a:xfrm>
            <a:custGeom>
              <a:avLst/>
              <a:gdLst/>
              <a:ahLst/>
              <a:cxnLst/>
              <a:rect l="l" t="t" r="r" b="b"/>
              <a:pathLst>
                <a:path w="837702" h="315515" extrusionOk="0">
                  <a:moveTo>
                    <a:pt x="0" y="147745"/>
                  </a:moveTo>
                  <a:lnTo>
                    <a:pt x="0" y="315920"/>
                  </a:lnTo>
                  <a:lnTo>
                    <a:pt x="837703" y="168176"/>
                  </a:lnTo>
                  <a:lnTo>
                    <a:pt x="837703" y="0"/>
                  </a:lnTo>
                  <a:lnTo>
                    <a:pt x="0" y="147745"/>
                  </a:lnTo>
                  <a:close/>
                </a:path>
              </a:pathLst>
            </a:custGeom>
            <a:gradFill>
              <a:gsLst>
                <a:gs pos="0">
                  <a:srgbClr val="FFFFFF">
                    <a:alpha val="11764"/>
                  </a:srgbClr>
                </a:gs>
                <a:gs pos="100000">
                  <a:srgbClr val="FFFFFF">
                    <a:alpha val="4705"/>
                  </a:srgbClr>
                </a:gs>
              </a:gsLst>
              <a:lin ang="599887"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2" name="Rectangle 1">
            <a:extLst>
              <a:ext uri="{FF2B5EF4-FFF2-40B4-BE49-F238E27FC236}">
                <a16:creationId xmlns:a16="http://schemas.microsoft.com/office/drawing/2014/main" id="{84EB0764-F0D4-9554-DEBB-DE11A8FB7FC3}"/>
              </a:ext>
            </a:extLst>
          </p:cNvPr>
          <p:cNvSpPr/>
          <p:nvPr userDrawn="1"/>
        </p:nvSpPr>
        <p:spPr>
          <a:xfrm>
            <a:off x="1" y="800141"/>
            <a:ext cx="12191601" cy="6057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91" name="Google Shape;91;p8"/>
          <p:cNvSpPr txBox="1">
            <a:spLocks noGrp="1"/>
          </p:cNvSpPr>
          <p:nvPr>
            <p:ph type="title"/>
          </p:nvPr>
        </p:nvSpPr>
        <p:spPr>
          <a:xfrm>
            <a:off x="609600" y="-133"/>
            <a:ext cx="7315200" cy="24192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solidFill>
                  <a:schemeClr val="accent3">
                    <a:lumMod val="75000"/>
                  </a:schemeClr>
                </a:solidFill>
                <a:latin typeface="Franklin Gothic Medium" panose="020B0603020102020204" pitchFamily="34" charset="0"/>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92" name="Google Shape;92;p8"/>
          <p:cNvSpPr txBox="1">
            <a:spLocks noGrp="1"/>
          </p:cNvSpPr>
          <p:nvPr>
            <p:ph type="body" idx="1"/>
          </p:nvPr>
        </p:nvSpPr>
        <p:spPr>
          <a:xfrm>
            <a:off x="6096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3" name="Google Shape;93;p8"/>
          <p:cNvSpPr txBox="1">
            <a:spLocks noGrp="1"/>
          </p:cNvSpPr>
          <p:nvPr>
            <p:ph type="body" idx="2"/>
          </p:nvPr>
        </p:nvSpPr>
        <p:spPr>
          <a:xfrm>
            <a:off x="4386984"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sp>
        <p:nvSpPr>
          <p:cNvPr id="94" name="Google Shape;94;p8"/>
          <p:cNvSpPr txBox="1">
            <a:spLocks noGrp="1"/>
          </p:cNvSpPr>
          <p:nvPr>
            <p:ph type="body" idx="3"/>
          </p:nvPr>
        </p:nvSpPr>
        <p:spPr>
          <a:xfrm>
            <a:off x="8164400" y="3177533"/>
            <a:ext cx="3418000" cy="2959600"/>
          </a:xfrm>
          <a:prstGeom prst="rect">
            <a:avLst/>
          </a:prstGeom>
        </p:spPr>
        <p:txBody>
          <a:bodyPr spcFirstLastPara="1" wrap="square" lIns="0" tIns="0" rIns="0" bIns="0" anchor="t" anchorCtr="0">
            <a:noAutofit/>
          </a:bodyPr>
          <a:lstStyle>
            <a:lvl1pPr marL="609585" lvl="0" indent="-440256" rtl="0">
              <a:spcBef>
                <a:spcPts val="800"/>
              </a:spcBef>
              <a:spcAft>
                <a:spcPts val="0"/>
              </a:spcAft>
              <a:buSzPts val="1600"/>
              <a:buChar char="▰"/>
              <a:defRPr sz="2133"/>
            </a:lvl1pPr>
            <a:lvl2pPr marL="1219170" lvl="1" indent="-440256" rtl="0">
              <a:spcBef>
                <a:spcPts val="0"/>
              </a:spcBef>
              <a:spcAft>
                <a:spcPts val="0"/>
              </a:spcAft>
              <a:buSzPts val="1600"/>
              <a:buChar char="▰"/>
              <a:defRPr sz="2133"/>
            </a:lvl2pPr>
            <a:lvl3pPr marL="1828754" lvl="2" indent="-440256" rtl="0">
              <a:spcBef>
                <a:spcPts val="0"/>
              </a:spcBef>
              <a:spcAft>
                <a:spcPts val="0"/>
              </a:spcAft>
              <a:buSzPts val="1600"/>
              <a:buChar char="▰"/>
              <a:defRPr sz="2133"/>
            </a:lvl3pPr>
            <a:lvl4pPr marL="2438339" lvl="3" indent="-440256" rtl="0">
              <a:spcBef>
                <a:spcPts val="0"/>
              </a:spcBef>
              <a:spcAft>
                <a:spcPts val="0"/>
              </a:spcAft>
              <a:buSzPts val="1600"/>
              <a:buChar char="▰"/>
              <a:defRPr sz="2133"/>
            </a:lvl4pPr>
            <a:lvl5pPr marL="3047924" lvl="4" indent="-440256" rtl="0">
              <a:spcBef>
                <a:spcPts val="0"/>
              </a:spcBef>
              <a:spcAft>
                <a:spcPts val="0"/>
              </a:spcAft>
              <a:buSzPts val="1600"/>
              <a:buChar char="▰"/>
              <a:defRPr sz="2133"/>
            </a:lvl5pPr>
            <a:lvl6pPr marL="3657509" lvl="5" indent="-440256" rtl="0">
              <a:spcBef>
                <a:spcPts val="0"/>
              </a:spcBef>
              <a:spcAft>
                <a:spcPts val="0"/>
              </a:spcAft>
              <a:buSzPts val="1600"/>
              <a:buChar char="▰"/>
              <a:defRPr sz="2133"/>
            </a:lvl6pPr>
            <a:lvl7pPr marL="4267093" lvl="6" indent="-440256" rtl="0">
              <a:spcBef>
                <a:spcPts val="0"/>
              </a:spcBef>
              <a:spcAft>
                <a:spcPts val="0"/>
              </a:spcAft>
              <a:buSzPts val="1600"/>
              <a:buChar char="▰"/>
              <a:defRPr sz="2133"/>
            </a:lvl7pPr>
            <a:lvl8pPr marL="4876678" lvl="7" indent="-440256" rtl="0">
              <a:spcBef>
                <a:spcPts val="0"/>
              </a:spcBef>
              <a:spcAft>
                <a:spcPts val="0"/>
              </a:spcAft>
              <a:buSzPts val="1600"/>
              <a:buChar char="▰"/>
              <a:defRPr sz="2133"/>
            </a:lvl8pPr>
            <a:lvl9pPr marL="5486263" lvl="8" indent="-440256" rtl="0">
              <a:spcBef>
                <a:spcPts val="0"/>
              </a:spcBef>
              <a:spcAft>
                <a:spcPts val="0"/>
              </a:spcAft>
              <a:buSzPts val="1600"/>
              <a:buChar char="▰"/>
              <a:defRPr sz="2133"/>
            </a:lvl9pPr>
          </a:lstStyle>
          <a:p>
            <a:endParaRPr/>
          </a:p>
        </p:txBody>
      </p:sp>
      <p:pic>
        <p:nvPicPr>
          <p:cNvPr id="14" name="Picture 13">
            <a:extLst>
              <a:ext uri="{FF2B5EF4-FFF2-40B4-BE49-F238E27FC236}">
                <a16:creationId xmlns:a16="http://schemas.microsoft.com/office/drawing/2014/main" id="{8F413A36-B3C1-95F5-5DFA-63289D4B3F1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28276940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C4AA-3BB5-4E0B-8702-7EE602A83C11}"/>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8E8809B-A24D-4DA5-9D94-BEF70C672E19}"/>
              </a:ext>
            </a:extLst>
          </p:cNvPr>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A866FE1-3681-44F1-9CC1-BB84DCC3B67C}"/>
              </a:ext>
            </a:extLst>
          </p:cNvPr>
          <p:cNvSpPr>
            <a:spLocks noGrp="1"/>
          </p:cNvSpPr>
          <p:nvPr>
            <p:ph type="dt" sz="half" idx="10"/>
          </p:nvPr>
        </p:nvSpPr>
        <p:spPr/>
        <p:txBody>
          <a:bodyPr/>
          <a:lstStyle/>
          <a:p>
            <a:fld id="{B793ED44-C247-45C6-BF45-9E1D92185F06}" type="datetimeFigureOut">
              <a:rPr lang="en-US" smtClean="0"/>
              <a:t>5/21/2023</a:t>
            </a:fld>
            <a:endParaRPr lang="en-US"/>
          </a:p>
        </p:txBody>
      </p:sp>
      <p:sp>
        <p:nvSpPr>
          <p:cNvPr id="5" name="Footer Placeholder 4">
            <a:extLst>
              <a:ext uri="{FF2B5EF4-FFF2-40B4-BE49-F238E27FC236}">
                <a16:creationId xmlns:a16="http://schemas.microsoft.com/office/drawing/2014/main" id="{B5A09631-438B-4399-9BC4-2DF6AB9A6F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1A8C08-1F8E-42E8-8874-C7F3B198820B}"/>
              </a:ext>
            </a:extLst>
          </p:cNvPr>
          <p:cNvSpPr>
            <a:spLocks noGrp="1"/>
          </p:cNvSpPr>
          <p:nvPr>
            <p:ph type="sldNum" sz="quarter" idx="12"/>
          </p:nvPr>
        </p:nvSpPr>
        <p:spPr/>
        <p:txBody>
          <a:bodyPr/>
          <a:lstStyle/>
          <a:p>
            <a:fld id="{6CC3F113-8113-48FA-B6BB-34AA8FA3D784}" type="slidenum">
              <a:rPr lang="en-US" smtClean="0"/>
              <a:t>‹#›</a:t>
            </a:fld>
            <a:endParaRPr lang="en-US"/>
          </a:p>
        </p:txBody>
      </p:sp>
    </p:spTree>
    <p:extLst>
      <p:ext uri="{BB962C8B-B14F-4D97-AF65-F5344CB8AC3E}">
        <p14:creationId xmlns:p14="http://schemas.microsoft.com/office/powerpoint/2010/main" val="17775971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6A6FE-9F56-40E5-BBA6-0B630FE22BED}"/>
              </a:ext>
            </a:extLst>
          </p:cNvPr>
          <p:cNvSpPr>
            <a:spLocks noGrp="1"/>
          </p:cNvSpPr>
          <p:nvPr>
            <p:ph type="ctrTitle"/>
          </p:nvPr>
        </p:nvSpPr>
        <p:spPr>
          <a:xfrm>
            <a:off x="771583" y="560993"/>
            <a:ext cx="10762332" cy="1004057"/>
          </a:xfrm>
        </p:spPr>
        <p:txBody>
          <a:bodyPr anchor="b">
            <a:normAutofit/>
          </a:bodyPr>
          <a:lstStyle>
            <a:lvl1pPr algn="l">
              <a:defRPr sz="5000"/>
            </a:lvl1pPr>
          </a:lstStyle>
          <a:p>
            <a:r>
              <a:rPr lang="en-US"/>
              <a:t>Click to edit Master title style</a:t>
            </a:r>
            <a:endParaRPr lang="ru-RU"/>
          </a:p>
        </p:txBody>
      </p:sp>
      <p:sp>
        <p:nvSpPr>
          <p:cNvPr id="3" name="Subtitle 2">
            <a:extLst>
              <a:ext uri="{FF2B5EF4-FFF2-40B4-BE49-F238E27FC236}">
                <a16:creationId xmlns:a16="http://schemas.microsoft.com/office/drawing/2014/main" id="{86F1E879-9DF7-4DA7-85AC-CB56A8C099B9}"/>
              </a:ext>
            </a:extLst>
          </p:cNvPr>
          <p:cNvSpPr>
            <a:spLocks noGrp="1"/>
          </p:cNvSpPr>
          <p:nvPr>
            <p:ph type="subTitle" idx="1"/>
          </p:nvPr>
        </p:nvSpPr>
        <p:spPr>
          <a:xfrm>
            <a:off x="771581" y="1810871"/>
            <a:ext cx="10631707" cy="471667"/>
          </a:xfrm>
        </p:spPr>
        <p:txBody>
          <a:bodyPr/>
          <a:lstStyle>
            <a:lvl1pPr marL="0" indent="0" algn="l">
              <a:buNone/>
              <a:defRPr sz="2400">
                <a:solidFill>
                  <a:srgbClr val="31365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ru-RU"/>
          </a:p>
        </p:txBody>
      </p:sp>
      <p:sp>
        <p:nvSpPr>
          <p:cNvPr id="4" name="Date Placeholder 3">
            <a:extLst>
              <a:ext uri="{FF2B5EF4-FFF2-40B4-BE49-F238E27FC236}">
                <a16:creationId xmlns:a16="http://schemas.microsoft.com/office/drawing/2014/main" id="{486006BC-654D-4398-BB52-44965C9C13A3}"/>
              </a:ext>
            </a:extLst>
          </p:cNvPr>
          <p:cNvSpPr>
            <a:spLocks noGrp="1"/>
          </p:cNvSpPr>
          <p:nvPr>
            <p:ph type="dt" sz="half" idx="10"/>
          </p:nvPr>
        </p:nvSpPr>
        <p:spPr>
          <a:xfrm>
            <a:off x="8873231" y="5942542"/>
            <a:ext cx="2743200" cy="153135"/>
          </a:xfrm>
        </p:spPr>
        <p:txBody>
          <a:bodyPr/>
          <a:lstStyle>
            <a:lvl1pPr>
              <a:defRPr>
                <a:solidFill>
                  <a:srgbClr val="4C1959"/>
                </a:solidFill>
              </a:defRPr>
            </a:lvl1pPr>
          </a:lstStyle>
          <a:p>
            <a:fld id="{9EC83871-7464-427B-B6D7-A5E8F38202AB}" type="datetime1">
              <a:rPr lang="ru-RU" smtClean="0"/>
              <a:pPr/>
              <a:t>21.05.2023</a:t>
            </a:fld>
            <a:endParaRPr lang="ru-RU"/>
          </a:p>
        </p:txBody>
      </p:sp>
      <p:sp>
        <p:nvSpPr>
          <p:cNvPr id="5" name="Footer Placeholder 4">
            <a:extLst>
              <a:ext uri="{FF2B5EF4-FFF2-40B4-BE49-F238E27FC236}">
                <a16:creationId xmlns:a16="http://schemas.microsoft.com/office/drawing/2014/main" id="{88D33390-B4DE-4B11-A7FB-79925DE8D791}"/>
              </a:ext>
            </a:extLst>
          </p:cNvPr>
          <p:cNvSpPr>
            <a:spLocks noGrp="1"/>
          </p:cNvSpPr>
          <p:nvPr>
            <p:ph type="ftr" sz="quarter" idx="11"/>
          </p:nvPr>
        </p:nvSpPr>
        <p:spPr/>
        <p:txBody>
          <a:bodyPr/>
          <a:lstStyle>
            <a:lvl1pPr>
              <a:defRPr>
                <a:solidFill>
                  <a:srgbClr val="4C1959"/>
                </a:solidFill>
              </a:defRPr>
            </a:lvl1pPr>
          </a:lstStyle>
          <a:p>
            <a:endParaRPr lang="ru-RU"/>
          </a:p>
        </p:txBody>
      </p:sp>
      <p:sp>
        <p:nvSpPr>
          <p:cNvPr id="6" name="Slide Number Placeholder 5">
            <a:extLst>
              <a:ext uri="{FF2B5EF4-FFF2-40B4-BE49-F238E27FC236}">
                <a16:creationId xmlns:a16="http://schemas.microsoft.com/office/drawing/2014/main" id="{73173001-7276-491C-9F48-01FA5E7196FC}"/>
              </a:ext>
            </a:extLst>
          </p:cNvPr>
          <p:cNvSpPr>
            <a:spLocks noGrp="1"/>
          </p:cNvSpPr>
          <p:nvPr>
            <p:ph type="sldNum" sz="quarter" idx="12"/>
          </p:nvPr>
        </p:nvSpPr>
        <p:spPr/>
        <p:txBody>
          <a:bodyPr/>
          <a:lstStyle>
            <a:lvl1pPr>
              <a:defRPr>
                <a:solidFill>
                  <a:srgbClr val="4C1959"/>
                </a:solidFill>
              </a:defRPr>
            </a:lvl1pPr>
          </a:lstStyle>
          <a:p>
            <a:fld id="{AF24F759-2890-4717-B1AF-E04CADEEA4E9}" type="slidenum">
              <a:rPr lang="ru-RU" smtClean="0"/>
              <a:pPr/>
              <a:t>‹#›</a:t>
            </a:fld>
            <a:endParaRPr lang="ru-RU"/>
          </a:p>
        </p:txBody>
      </p:sp>
      <p:cxnSp>
        <p:nvCxnSpPr>
          <p:cNvPr id="10" name="Straight Connector 9">
            <a:extLst>
              <a:ext uri="{FF2B5EF4-FFF2-40B4-BE49-F238E27FC236}">
                <a16:creationId xmlns:a16="http://schemas.microsoft.com/office/drawing/2014/main" id="{271986FB-BF6D-4B98-ACDD-AD2C255FA969}"/>
              </a:ext>
            </a:extLst>
          </p:cNvPr>
          <p:cNvCxnSpPr/>
          <p:nvPr userDrawn="1"/>
        </p:nvCxnSpPr>
        <p:spPr>
          <a:xfrm>
            <a:off x="930604" y="1640756"/>
            <a:ext cx="3739896" cy="0"/>
          </a:xfrm>
          <a:prstGeom prst="line">
            <a:avLst/>
          </a:prstGeom>
          <a:ln w="7239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ED13A07-F0A8-43F7-B682-245A3F0AE53C}"/>
              </a:ext>
            </a:extLst>
          </p:cNvPr>
          <p:cNvCxnSpPr>
            <a:cxnSpLocks/>
          </p:cNvCxnSpPr>
          <p:nvPr userDrawn="1"/>
        </p:nvCxnSpPr>
        <p:spPr>
          <a:xfrm>
            <a:off x="506062" y="3437723"/>
            <a:ext cx="11220501" cy="0"/>
          </a:xfrm>
          <a:prstGeom prst="line">
            <a:avLst/>
          </a:prstGeom>
          <a:ln w="7239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9" name="Oval 118">
            <a:extLst>
              <a:ext uri="{FF2B5EF4-FFF2-40B4-BE49-F238E27FC236}">
                <a16:creationId xmlns:a16="http://schemas.microsoft.com/office/drawing/2014/main" id="{5626E3A0-4546-4CF6-A4F2-DEF7D1CD1FF9}"/>
              </a:ext>
            </a:extLst>
          </p:cNvPr>
          <p:cNvSpPr/>
          <p:nvPr userDrawn="1"/>
        </p:nvSpPr>
        <p:spPr>
          <a:xfrm>
            <a:off x="1425687" y="2806787"/>
            <a:ext cx="1261872" cy="1261872"/>
          </a:xfrm>
          <a:prstGeom prst="ellipse">
            <a:avLst/>
          </a:prstGeom>
          <a:solidFill>
            <a:srgbClr val="7F6CA1"/>
          </a:solidFill>
          <a:ln w="7239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p>
        </p:txBody>
      </p:sp>
      <p:sp>
        <p:nvSpPr>
          <p:cNvPr id="120" name="Oval 119">
            <a:extLst>
              <a:ext uri="{FF2B5EF4-FFF2-40B4-BE49-F238E27FC236}">
                <a16:creationId xmlns:a16="http://schemas.microsoft.com/office/drawing/2014/main" id="{7E2518BE-4FE7-462F-896E-F7A1045CBC7F}"/>
              </a:ext>
            </a:extLst>
          </p:cNvPr>
          <p:cNvSpPr/>
          <p:nvPr userDrawn="1"/>
        </p:nvSpPr>
        <p:spPr>
          <a:xfrm>
            <a:off x="9485991" y="2806787"/>
            <a:ext cx="1261872" cy="1261872"/>
          </a:xfrm>
          <a:prstGeom prst="ellipse">
            <a:avLst/>
          </a:prstGeom>
          <a:solidFill>
            <a:srgbClr val="7F6CA1"/>
          </a:solidFill>
          <a:ln w="7239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p>
        </p:txBody>
      </p:sp>
      <p:sp>
        <p:nvSpPr>
          <p:cNvPr id="121" name="Oval 120">
            <a:extLst>
              <a:ext uri="{FF2B5EF4-FFF2-40B4-BE49-F238E27FC236}">
                <a16:creationId xmlns:a16="http://schemas.microsoft.com/office/drawing/2014/main" id="{D13B079D-42A1-4B9D-A7F1-282A0DD6008D}"/>
              </a:ext>
            </a:extLst>
          </p:cNvPr>
          <p:cNvSpPr/>
          <p:nvPr userDrawn="1"/>
        </p:nvSpPr>
        <p:spPr>
          <a:xfrm>
            <a:off x="3447869" y="2806787"/>
            <a:ext cx="1261872" cy="1261872"/>
          </a:xfrm>
          <a:prstGeom prst="ellipse">
            <a:avLst/>
          </a:prstGeom>
          <a:solidFill>
            <a:srgbClr val="7F6CA1"/>
          </a:solidFill>
          <a:ln w="7239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p>
        </p:txBody>
      </p:sp>
      <p:sp>
        <p:nvSpPr>
          <p:cNvPr id="122" name="Oval 121">
            <a:extLst>
              <a:ext uri="{FF2B5EF4-FFF2-40B4-BE49-F238E27FC236}">
                <a16:creationId xmlns:a16="http://schemas.microsoft.com/office/drawing/2014/main" id="{5265D1BF-A6B7-4058-A96A-F0F1C76D8517}"/>
              </a:ext>
            </a:extLst>
          </p:cNvPr>
          <p:cNvSpPr/>
          <p:nvPr userDrawn="1"/>
        </p:nvSpPr>
        <p:spPr>
          <a:xfrm>
            <a:off x="5460576" y="2806787"/>
            <a:ext cx="1261872" cy="1261872"/>
          </a:xfrm>
          <a:prstGeom prst="ellipse">
            <a:avLst/>
          </a:prstGeom>
          <a:solidFill>
            <a:srgbClr val="7F6CA1"/>
          </a:solidFill>
          <a:ln w="7239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p>
        </p:txBody>
      </p:sp>
      <p:sp>
        <p:nvSpPr>
          <p:cNvPr id="123" name="Oval 122">
            <a:extLst>
              <a:ext uri="{FF2B5EF4-FFF2-40B4-BE49-F238E27FC236}">
                <a16:creationId xmlns:a16="http://schemas.microsoft.com/office/drawing/2014/main" id="{0A1987E3-E256-4CF7-9FE6-0446D4E40179}"/>
              </a:ext>
            </a:extLst>
          </p:cNvPr>
          <p:cNvSpPr/>
          <p:nvPr userDrawn="1"/>
        </p:nvSpPr>
        <p:spPr>
          <a:xfrm>
            <a:off x="7473283" y="2806787"/>
            <a:ext cx="1261872" cy="1261872"/>
          </a:xfrm>
          <a:prstGeom prst="ellipse">
            <a:avLst/>
          </a:prstGeom>
          <a:solidFill>
            <a:srgbClr val="7F6CA1"/>
          </a:solidFill>
          <a:ln w="7239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p>
        </p:txBody>
      </p:sp>
      <p:sp>
        <p:nvSpPr>
          <p:cNvPr id="125" name="Text Placeholder 45">
            <a:extLst>
              <a:ext uri="{FF2B5EF4-FFF2-40B4-BE49-F238E27FC236}">
                <a16:creationId xmlns:a16="http://schemas.microsoft.com/office/drawing/2014/main" id="{62F3EA0C-FA8C-40D1-9BE6-30DACB1AB543}"/>
              </a:ext>
            </a:extLst>
          </p:cNvPr>
          <p:cNvSpPr>
            <a:spLocks noGrp="1"/>
          </p:cNvSpPr>
          <p:nvPr>
            <p:ph type="body" sz="quarter" idx="16" hasCustomPrompt="1"/>
          </p:nvPr>
        </p:nvSpPr>
        <p:spPr>
          <a:xfrm>
            <a:off x="1426623" y="3121174"/>
            <a:ext cx="1260000" cy="593725"/>
          </a:xfrm>
        </p:spPr>
        <p:txBody>
          <a:bodyPr anchor="b" anchorCtr="0"/>
          <a:lstStyle>
            <a:lvl1pPr marL="0" indent="0" algn="ctr">
              <a:buNone/>
              <a:defRPr lang="ru-RU" sz="3000" b="1" i="0" kern="1200" dirty="0">
                <a:solidFill>
                  <a:schemeClr val="accent4"/>
                </a:solidFill>
                <a:latin typeface="+mj-lt"/>
                <a:ea typeface="+mn-ea"/>
                <a:cs typeface="+mn-cs"/>
              </a:defRPr>
            </a:lvl1pPr>
          </a:lstStyle>
          <a:p>
            <a:pPr lvl="0"/>
            <a:r>
              <a:rPr lang="en-US"/>
              <a:t>20XX</a:t>
            </a:r>
            <a:endParaRPr lang="ru-RU"/>
          </a:p>
        </p:txBody>
      </p:sp>
      <p:sp>
        <p:nvSpPr>
          <p:cNvPr id="126" name="Text Placeholder 47">
            <a:extLst>
              <a:ext uri="{FF2B5EF4-FFF2-40B4-BE49-F238E27FC236}">
                <a16:creationId xmlns:a16="http://schemas.microsoft.com/office/drawing/2014/main" id="{B62F6384-D912-4754-AC82-81F6ED586BA4}"/>
              </a:ext>
            </a:extLst>
          </p:cNvPr>
          <p:cNvSpPr>
            <a:spLocks noGrp="1"/>
          </p:cNvSpPr>
          <p:nvPr>
            <p:ph type="body" sz="quarter" idx="17" hasCustomPrompt="1"/>
          </p:nvPr>
        </p:nvSpPr>
        <p:spPr>
          <a:xfrm>
            <a:off x="1426623" y="3587677"/>
            <a:ext cx="1260000" cy="243215"/>
          </a:xfrm>
        </p:spPr>
        <p:txBody>
          <a:bodyPr>
            <a:noAutofit/>
          </a:bodyPr>
          <a:lstStyle>
            <a:lvl1pPr marL="0" indent="0" algn="ctr">
              <a:buNone/>
              <a:defRPr lang="en-US" sz="1600" b="0" i="1" kern="1200" dirty="0" smtClean="0">
                <a:solidFill>
                  <a:schemeClr val="accent4"/>
                </a:solidFill>
                <a:latin typeface="+mn-lt"/>
                <a:ea typeface="+mn-ea"/>
                <a:cs typeface="+mn-cs"/>
              </a:defRPr>
            </a:lvl1pPr>
            <a:lvl2pPr>
              <a:defRPr lang="en-US" sz="1600" b="0" i="1" kern="1200" dirty="0" smtClean="0">
                <a:solidFill>
                  <a:schemeClr val="accent4"/>
                </a:solidFill>
                <a:latin typeface="+mn-lt"/>
                <a:ea typeface="+mn-ea"/>
                <a:cs typeface="+mn-cs"/>
              </a:defRPr>
            </a:lvl2pPr>
            <a:lvl3pPr>
              <a:defRPr lang="en-US" sz="1600" b="0" i="1" kern="1200" dirty="0" smtClean="0">
                <a:solidFill>
                  <a:schemeClr val="accent4"/>
                </a:solidFill>
                <a:latin typeface="+mn-lt"/>
                <a:ea typeface="+mn-ea"/>
                <a:cs typeface="+mn-cs"/>
              </a:defRPr>
            </a:lvl3pPr>
            <a:lvl4pPr>
              <a:defRPr lang="en-US" sz="1600" b="0" i="1" kern="1200" dirty="0" smtClean="0">
                <a:solidFill>
                  <a:schemeClr val="accent4"/>
                </a:solidFill>
                <a:latin typeface="+mn-lt"/>
                <a:ea typeface="+mn-ea"/>
                <a:cs typeface="+mn-cs"/>
              </a:defRPr>
            </a:lvl4pPr>
            <a:lvl5pPr>
              <a:defRPr lang="ru-RU" sz="1600" b="0" i="1" kern="1200" dirty="0">
                <a:solidFill>
                  <a:schemeClr val="accent4"/>
                </a:solidFill>
                <a:latin typeface="+mn-lt"/>
                <a:ea typeface="+mn-ea"/>
                <a:cs typeface="+mn-cs"/>
              </a:defRPr>
            </a:lvl5pPr>
          </a:lstStyle>
          <a:p>
            <a:pPr lvl="0"/>
            <a:r>
              <a:rPr lang="en-US"/>
              <a:t>Month</a:t>
            </a:r>
            <a:endParaRPr lang="ru-RU"/>
          </a:p>
        </p:txBody>
      </p:sp>
      <p:sp>
        <p:nvSpPr>
          <p:cNvPr id="127" name="Text Placeholder 45">
            <a:extLst>
              <a:ext uri="{FF2B5EF4-FFF2-40B4-BE49-F238E27FC236}">
                <a16:creationId xmlns:a16="http://schemas.microsoft.com/office/drawing/2014/main" id="{E4557023-E1DB-4099-92BE-5DD6EDC0A55F}"/>
              </a:ext>
            </a:extLst>
          </p:cNvPr>
          <p:cNvSpPr>
            <a:spLocks noGrp="1"/>
          </p:cNvSpPr>
          <p:nvPr>
            <p:ph type="body" sz="quarter" idx="18" hasCustomPrompt="1"/>
          </p:nvPr>
        </p:nvSpPr>
        <p:spPr>
          <a:xfrm>
            <a:off x="9486927" y="3121174"/>
            <a:ext cx="1260000" cy="593725"/>
          </a:xfrm>
        </p:spPr>
        <p:txBody>
          <a:bodyPr anchor="b" anchorCtr="0"/>
          <a:lstStyle>
            <a:lvl1pPr marL="0" indent="0" algn="ctr">
              <a:buNone/>
              <a:defRPr lang="ru-RU" sz="3000" b="1" i="0" kern="1200" dirty="0">
                <a:solidFill>
                  <a:schemeClr val="accent4"/>
                </a:solidFill>
                <a:latin typeface="+mj-lt"/>
                <a:ea typeface="+mn-ea"/>
                <a:cs typeface="+mn-cs"/>
              </a:defRPr>
            </a:lvl1pPr>
          </a:lstStyle>
          <a:p>
            <a:pPr lvl="0"/>
            <a:r>
              <a:rPr lang="en-US"/>
              <a:t>20XX</a:t>
            </a:r>
            <a:endParaRPr lang="ru-RU"/>
          </a:p>
        </p:txBody>
      </p:sp>
      <p:sp>
        <p:nvSpPr>
          <p:cNvPr id="128" name="Text Placeholder 47">
            <a:extLst>
              <a:ext uri="{FF2B5EF4-FFF2-40B4-BE49-F238E27FC236}">
                <a16:creationId xmlns:a16="http://schemas.microsoft.com/office/drawing/2014/main" id="{1394A278-B5EB-4D0C-B858-6C4854D605A4}"/>
              </a:ext>
            </a:extLst>
          </p:cNvPr>
          <p:cNvSpPr>
            <a:spLocks noGrp="1"/>
          </p:cNvSpPr>
          <p:nvPr>
            <p:ph type="body" sz="quarter" idx="19" hasCustomPrompt="1"/>
          </p:nvPr>
        </p:nvSpPr>
        <p:spPr>
          <a:xfrm>
            <a:off x="9486927" y="3587677"/>
            <a:ext cx="1260000" cy="243215"/>
          </a:xfrm>
        </p:spPr>
        <p:txBody>
          <a:bodyPr>
            <a:noAutofit/>
          </a:bodyPr>
          <a:lstStyle>
            <a:lvl1pPr marL="0" indent="0" algn="ctr">
              <a:buNone/>
              <a:defRPr lang="en-US" sz="1600" b="0" i="1" kern="1200" dirty="0" smtClean="0">
                <a:solidFill>
                  <a:schemeClr val="accent4"/>
                </a:solidFill>
                <a:latin typeface="+mn-lt"/>
                <a:ea typeface="+mn-ea"/>
                <a:cs typeface="+mn-cs"/>
              </a:defRPr>
            </a:lvl1pPr>
            <a:lvl2pPr>
              <a:defRPr lang="en-US" sz="1600" b="0" i="1" kern="1200" dirty="0" smtClean="0">
                <a:solidFill>
                  <a:schemeClr val="accent4"/>
                </a:solidFill>
                <a:latin typeface="+mn-lt"/>
                <a:ea typeface="+mn-ea"/>
                <a:cs typeface="+mn-cs"/>
              </a:defRPr>
            </a:lvl2pPr>
            <a:lvl3pPr>
              <a:defRPr lang="en-US" sz="1600" b="0" i="1" kern="1200" dirty="0" smtClean="0">
                <a:solidFill>
                  <a:schemeClr val="accent4"/>
                </a:solidFill>
                <a:latin typeface="+mn-lt"/>
                <a:ea typeface="+mn-ea"/>
                <a:cs typeface="+mn-cs"/>
              </a:defRPr>
            </a:lvl3pPr>
            <a:lvl4pPr>
              <a:defRPr lang="en-US" sz="1600" b="0" i="1" kern="1200" dirty="0" smtClean="0">
                <a:solidFill>
                  <a:schemeClr val="accent4"/>
                </a:solidFill>
                <a:latin typeface="+mn-lt"/>
                <a:ea typeface="+mn-ea"/>
                <a:cs typeface="+mn-cs"/>
              </a:defRPr>
            </a:lvl4pPr>
            <a:lvl5pPr>
              <a:defRPr lang="ru-RU" sz="1600" b="0" i="1" kern="1200" dirty="0">
                <a:solidFill>
                  <a:schemeClr val="accent4"/>
                </a:solidFill>
                <a:latin typeface="+mn-lt"/>
                <a:ea typeface="+mn-ea"/>
                <a:cs typeface="+mn-cs"/>
              </a:defRPr>
            </a:lvl5pPr>
          </a:lstStyle>
          <a:p>
            <a:pPr lvl="0"/>
            <a:r>
              <a:rPr lang="en-US"/>
              <a:t>Month</a:t>
            </a:r>
            <a:endParaRPr lang="ru-RU"/>
          </a:p>
        </p:txBody>
      </p:sp>
      <p:sp>
        <p:nvSpPr>
          <p:cNvPr id="129" name="Text Placeholder 45">
            <a:extLst>
              <a:ext uri="{FF2B5EF4-FFF2-40B4-BE49-F238E27FC236}">
                <a16:creationId xmlns:a16="http://schemas.microsoft.com/office/drawing/2014/main" id="{9A0EBBF7-4D6F-4416-9A72-43656E408A50}"/>
              </a:ext>
            </a:extLst>
          </p:cNvPr>
          <p:cNvSpPr>
            <a:spLocks noGrp="1"/>
          </p:cNvSpPr>
          <p:nvPr>
            <p:ph type="body" sz="quarter" idx="20" hasCustomPrompt="1"/>
          </p:nvPr>
        </p:nvSpPr>
        <p:spPr>
          <a:xfrm>
            <a:off x="3441699" y="3121174"/>
            <a:ext cx="1260000" cy="593725"/>
          </a:xfrm>
        </p:spPr>
        <p:txBody>
          <a:bodyPr anchor="b" anchorCtr="0"/>
          <a:lstStyle>
            <a:lvl1pPr marL="0" indent="0" algn="ctr">
              <a:buNone/>
              <a:defRPr lang="ru-RU" sz="3000" b="1" i="0" kern="1200" dirty="0">
                <a:solidFill>
                  <a:schemeClr val="accent4"/>
                </a:solidFill>
                <a:latin typeface="+mj-lt"/>
                <a:ea typeface="+mn-ea"/>
                <a:cs typeface="+mn-cs"/>
              </a:defRPr>
            </a:lvl1pPr>
          </a:lstStyle>
          <a:p>
            <a:pPr lvl="0"/>
            <a:r>
              <a:rPr lang="en-US"/>
              <a:t>20XX</a:t>
            </a:r>
            <a:endParaRPr lang="ru-RU"/>
          </a:p>
        </p:txBody>
      </p:sp>
      <p:sp>
        <p:nvSpPr>
          <p:cNvPr id="130" name="Text Placeholder 47">
            <a:extLst>
              <a:ext uri="{FF2B5EF4-FFF2-40B4-BE49-F238E27FC236}">
                <a16:creationId xmlns:a16="http://schemas.microsoft.com/office/drawing/2014/main" id="{E1D2E97C-7283-4D56-B845-31416A53E337}"/>
              </a:ext>
            </a:extLst>
          </p:cNvPr>
          <p:cNvSpPr>
            <a:spLocks noGrp="1"/>
          </p:cNvSpPr>
          <p:nvPr>
            <p:ph type="body" sz="quarter" idx="21" hasCustomPrompt="1"/>
          </p:nvPr>
        </p:nvSpPr>
        <p:spPr>
          <a:xfrm>
            <a:off x="3441699" y="3587677"/>
            <a:ext cx="1260000" cy="243215"/>
          </a:xfrm>
        </p:spPr>
        <p:txBody>
          <a:bodyPr>
            <a:noAutofit/>
          </a:bodyPr>
          <a:lstStyle>
            <a:lvl1pPr marL="0" indent="0" algn="ctr">
              <a:buNone/>
              <a:defRPr lang="en-US" sz="1600" b="0" i="1" kern="1200" dirty="0" smtClean="0">
                <a:solidFill>
                  <a:schemeClr val="accent4"/>
                </a:solidFill>
                <a:latin typeface="+mn-lt"/>
                <a:ea typeface="+mn-ea"/>
                <a:cs typeface="+mn-cs"/>
              </a:defRPr>
            </a:lvl1pPr>
            <a:lvl2pPr>
              <a:defRPr lang="en-US" sz="1600" b="0" i="1" kern="1200" dirty="0" smtClean="0">
                <a:solidFill>
                  <a:schemeClr val="accent4"/>
                </a:solidFill>
                <a:latin typeface="+mn-lt"/>
                <a:ea typeface="+mn-ea"/>
                <a:cs typeface="+mn-cs"/>
              </a:defRPr>
            </a:lvl2pPr>
            <a:lvl3pPr>
              <a:defRPr lang="en-US" sz="1600" b="0" i="1" kern="1200" dirty="0" smtClean="0">
                <a:solidFill>
                  <a:schemeClr val="accent4"/>
                </a:solidFill>
                <a:latin typeface="+mn-lt"/>
                <a:ea typeface="+mn-ea"/>
                <a:cs typeface="+mn-cs"/>
              </a:defRPr>
            </a:lvl3pPr>
            <a:lvl4pPr>
              <a:defRPr lang="en-US" sz="1600" b="0" i="1" kern="1200" dirty="0" smtClean="0">
                <a:solidFill>
                  <a:schemeClr val="accent4"/>
                </a:solidFill>
                <a:latin typeface="+mn-lt"/>
                <a:ea typeface="+mn-ea"/>
                <a:cs typeface="+mn-cs"/>
              </a:defRPr>
            </a:lvl4pPr>
            <a:lvl5pPr>
              <a:defRPr lang="ru-RU" sz="1600" b="0" i="1" kern="1200" dirty="0">
                <a:solidFill>
                  <a:schemeClr val="accent4"/>
                </a:solidFill>
                <a:latin typeface="+mn-lt"/>
                <a:ea typeface="+mn-ea"/>
                <a:cs typeface="+mn-cs"/>
              </a:defRPr>
            </a:lvl5pPr>
          </a:lstStyle>
          <a:p>
            <a:pPr lvl="0"/>
            <a:r>
              <a:rPr lang="en-US"/>
              <a:t>Month</a:t>
            </a:r>
            <a:endParaRPr lang="ru-RU"/>
          </a:p>
        </p:txBody>
      </p:sp>
      <p:sp>
        <p:nvSpPr>
          <p:cNvPr id="131" name="Text Placeholder 45">
            <a:extLst>
              <a:ext uri="{FF2B5EF4-FFF2-40B4-BE49-F238E27FC236}">
                <a16:creationId xmlns:a16="http://schemas.microsoft.com/office/drawing/2014/main" id="{C7FAD635-CC52-4D35-948F-3C282B8B1DCB}"/>
              </a:ext>
            </a:extLst>
          </p:cNvPr>
          <p:cNvSpPr>
            <a:spLocks noGrp="1"/>
          </p:cNvSpPr>
          <p:nvPr>
            <p:ph type="body" sz="quarter" idx="22" hasCustomPrompt="1"/>
          </p:nvPr>
        </p:nvSpPr>
        <p:spPr>
          <a:xfrm>
            <a:off x="5456775" y="3121174"/>
            <a:ext cx="1260000" cy="593725"/>
          </a:xfrm>
        </p:spPr>
        <p:txBody>
          <a:bodyPr anchor="b" anchorCtr="0"/>
          <a:lstStyle>
            <a:lvl1pPr marL="0" indent="0" algn="ctr">
              <a:buNone/>
              <a:defRPr lang="ru-RU" sz="3000" b="1" i="0" kern="1200" dirty="0">
                <a:solidFill>
                  <a:schemeClr val="accent4"/>
                </a:solidFill>
                <a:latin typeface="+mj-lt"/>
                <a:ea typeface="+mn-ea"/>
                <a:cs typeface="+mn-cs"/>
              </a:defRPr>
            </a:lvl1pPr>
          </a:lstStyle>
          <a:p>
            <a:pPr lvl="0"/>
            <a:r>
              <a:rPr lang="en-US"/>
              <a:t>20XX</a:t>
            </a:r>
            <a:endParaRPr lang="ru-RU"/>
          </a:p>
        </p:txBody>
      </p:sp>
      <p:sp>
        <p:nvSpPr>
          <p:cNvPr id="132" name="Text Placeholder 47">
            <a:extLst>
              <a:ext uri="{FF2B5EF4-FFF2-40B4-BE49-F238E27FC236}">
                <a16:creationId xmlns:a16="http://schemas.microsoft.com/office/drawing/2014/main" id="{03B8B604-1193-4627-A082-F0D9A6054224}"/>
              </a:ext>
            </a:extLst>
          </p:cNvPr>
          <p:cNvSpPr>
            <a:spLocks noGrp="1"/>
          </p:cNvSpPr>
          <p:nvPr>
            <p:ph type="body" sz="quarter" idx="23" hasCustomPrompt="1"/>
          </p:nvPr>
        </p:nvSpPr>
        <p:spPr>
          <a:xfrm>
            <a:off x="5456775" y="3587677"/>
            <a:ext cx="1260000" cy="243215"/>
          </a:xfrm>
        </p:spPr>
        <p:txBody>
          <a:bodyPr>
            <a:noAutofit/>
          </a:bodyPr>
          <a:lstStyle>
            <a:lvl1pPr marL="0" indent="0" algn="ctr">
              <a:buNone/>
              <a:defRPr lang="en-US" sz="1600" b="0" i="1" kern="1200" dirty="0" smtClean="0">
                <a:solidFill>
                  <a:schemeClr val="accent4"/>
                </a:solidFill>
                <a:latin typeface="+mn-lt"/>
                <a:ea typeface="+mn-ea"/>
                <a:cs typeface="+mn-cs"/>
              </a:defRPr>
            </a:lvl1pPr>
            <a:lvl2pPr>
              <a:defRPr lang="en-US" sz="1600" b="0" i="1" kern="1200" dirty="0" smtClean="0">
                <a:solidFill>
                  <a:schemeClr val="accent4"/>
                </a:solidFill>
                <a:latin typeface="+mn-lt"/>
                <a:ea typeface="+mn-ea"/>
                <a:cs typeface="+mn-cs"/>
              </a:defRPr>
            </a:lvl2pPr>
            <a:lvl3pPr>
              <a:defRPr lang="en-US" sz="1600" b="0" i="1" kern="1200" dirty="0" smtClean="0">
                <a:solidFill>
                  <a:schemeClr val="accent4"/>
                </a:solidFill>
                <a:latin typeface="+mn-lt"/>
                <a:ea typeface="+mn-ea"/>
                <a:cs typeface="+mn-cs"/>
              </a:defRPr>
            </a:lvl3pPr>
            <a:lvl4pPr>
              <a:defRPr lang="en-US" sz="1600" b="0" i="1" kern="1200" dirty="0" smtClean="0">
                <a:solidFill>
                  <a:schemeClr val="accent4"/>
                </a:solidFill>
                <a:latin typeface="+mn-lt"/>
                <a:ea typeface="+mn-ea"/>
                <a:cs typeface="+mn-cs"/>
              </a:defRPr>
            </a:lvl4pPr>
            <a:lvl5pPr>
              <a:defRPr lang="ru-RU" sz="1600" b="0" i="1" kern="1200" dirty="0">
                <a:solidFill>
                  <a:schemeClr val="accent4"/>
                </a:solidFill>
                <a:latin typeface="+mn-lt"/>
                <a:ea typeface="+mn-ea"/>
                <a:cs typeface="+mn-cs"/>
              </a:defRPr>
            </a:lvl5pPr>
          </a:lstStyle>
          <a:p>
            <a:pPr lvl="0"/>
            <a:r>
              <a:rPr lang="en-US"/>
              <a:t>Month</a:t>
            </a:r>
            <a:endParaRPr lang="ru-RU"/>
          </a:p>
        </p:txBody>
      </p:sp>
      <p:sp>
        <p:nvSpPr>
          <p:cNvPr id="133" name="Text Placeholder 45">
            <a:extLst>
              <a:ext uri="{FF2B5EF4-FFF2-40B4-BE49-F238E27FC236}">
                <a16:creationId xmlns:a16="http://schemas.microsoft.com/office/drawing/2014/main" id="{BCD8CA83-EDAF-4BB0-B4B2-ACB5B3FABA59}"/>
              </a:ext>
            </a:extLst>
          </p:cNvPr>
          <p:cNvSpPr>
            <a:spLocks noGrp="1"/>
          </p:cNvSpPr>
          <p:nvPr>
            <p:ph type="body" sz="quarter" idx="24" hasCustomPrompt="1"/>
          </p:nvPr>
        </p:nvSpPr>
        <p:spPr>
          <a:xfrm>
            <a:off x="7471851" y="3121174"/>
            <a:ext cx="1260000" cy="593725"/>
          </a:xfrm>
        </p:spPr>
        <p:txBody>
          <a:bodyPr anchor="b" anchorCtr="0"/>
          <a:lstStyle>
            <a:lvl1pPr marL="0" indent="0" algn="ctr">
              <a:buNone/>
              <a:defRPr lang="ru-RU" sz="3000" b="1" i="0" kern="1200" dirty="0">
                <a:solidFill>
                  <a:schemeClr val="accent4"/>
                </a:solidFill>
                <a:latin typeface="+mj-lt"/>
                <a:ea typeface="+mn-ea"/>
                <a:cs typeface="+mn-cs"/>
              </a:defRPr>
            </a:lvl1pPr>
          </a:lstStyle>
          <a:p>
            <a:pPr lvl="0"/>
            <a:r>
              <a:rPr lang="en-US"/>
              <a:t>20XX</a:t>
            </a:r>
            <a:endParaRPr lang="ru-RU"/>
          </a:p>
        </p:txBody>
      </p:sp>
      <p:sp>
        <p:nvSpPr>
          <p:cNvPr id="134" name="Text Placeholder 47">
            <a:extLst>
              <a:ext uri="{FF2B5EF4-FFF2-40B4-BE49-F238E27FC236}">
                <a16:creationId xmlns:a16="http://schemas.microsoft.com/office/drawing/2014/main" id="{9E430891-2780-4B5A-85BC-72B884479039}"/>
              </a:ext>
            </a:extLst>
          </p:cNvPr>
          <p:cNvSpPr>
            <a:spLocks noGrp="1"/>
          </p:cNvSpPr>
          <p:nvPr>
            <p:ph type="body" sz="quarter" idx="25" hasCustomPrompt="1"/>
          </p:nvPr>
        </p:nvSpPr>
        <p:spPr>
          <a:xfrm>
            <a:off x="7471851" y="3587677"/>
            <a:ext cx="1260000" cy="243215"/>
          </a:xfrm>
        </p:spPr>
        <p:txBody>
          <a:bodyPr>
            <a:noAutofit/>
          </a:bodyPr>
          <a:lstStyle>
            <a:lvl1pPr marL="0" indent="0" algn="ctr">
              <a:buNone/>
              <a:defRPr lang="en-US" sz="1600" b="0" i="1" kern="1200" dirty="0" smtClean="0">
                <a:solidFill>
                  <a:schemeClr val="accent4"/>
                </a:solidFill>
                <a:latin typeface="+mn-lt"/>
                <a:ea typeface="+mn-ea"/>
                <a:cs typeface="+mn-cs"/>
              </a:defRPr>
            </a:lvl1pPr>
            <a:lvl2pPr>
              <a:defRPr lang="en-US" sz="1600" b="0" i="1" kern="1200" dirty="0" smtClean="0">
                <a:solidFill>
                  <a:schemeClr val="accent4"/>
                </a:solidFill>
                <a:latin typeface="+mn-lt"/>
                <a:ea typeface="+mn-ea"/>
                <a:cs typeface="+mn-cs"/>
              </a:defRPr>
            </a:lvl2pPr>
            <a:lvl3pPr>
              <a:defRPr lang="en-US" sz="1600" b="0" i="1" kern="1200" dirty="0" smtClean="0">
                <a:solidFill>
                  <a:schemeClr val="accent4"/>
                </a:solidFill>
                <a:latin typeface="+mn-lt"/>
                <a:ea typeface="+mn-ea"/>
                <a:cs typeface="+mn-cs"/>
              </a:defRPr>
            </a:lvl3pPr>
            <a:lvl4pPr>
              <a:defRPr lang="en-US" sz="1600" b="0" i="1" kern="1200" dirty="0" smtClean="0">
                <a:solidFill>
                  <a:schemeClr val="accent4"/>
                </a:solidFill>
                <a:latin typeface="+mn-lt"/>
                <a:ea typeface="+mn-ea"/>
                <a:cs typeface="+mn-cs"/>
              </a:defRPr>
            </a:lvl4pPr>
            <a:lvl5pPr>
              <a:defRPr lang="ru-RU" sz="1600" b="0" i="1" kern="1200" dirty="0">
                <a:solidFill>
                  <a:schemeClr val="accent4"/>
                </a:solidFill>
                <a:latin typeface="+mn-lt"/>
                <a:ea typeface="+mn-ea"/>
                <a:cs typeface="+mn-cs"/>
              </a:defRPr>
            </a:lvl5pPr>
          </a:lstStyle>
          <a:p>
            <a:pPr lvl="0"/>
            <a:r>
              <a:rPr lang="en-US"/>
              <a:t>Month</a:t>
            </a:r>
            <a:endParaRPr lang="ru-RU"/>
          </a:p>
        </p:txBody>
      </p:sp>
      <p:cxnSp>
        <p:nvCxnSpPr>
          <p:cNvPr id="135" name="Straight Connector 134">
            <a:extLst>
              <a:ext uri="{FF2B5EF4-FFF2-40B4-BE49-F238E27FC236}">
                <a16:creationId xmlns:a16="http://schemas.microsoft.com/office/drawing/2014/main" id="{AA3E97EF-FE6B-480C-959B-7280D4585FF1}"/>
              </a:ext>
            </a:extLst>
          </p:cNvPr>
          <p:cNvCxnSpPr/>
          <p:nvPr userDrawn="1"/>
        </p:nvCxnSpPr>
        <p:spPr>
          <a:xfrm>
            <a:off x="1327207" y="4723439"/>
            <a:ext cx="1463040" cy="0"/>
          </a:xfrm>
          <a:prstGeom prst="line">
            <a:avLst/>
          </a:prstGeom>
          <a:ln w="18034">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F3B62EE-A564-46ED-B447-638921DB62E8}"/>
              </a:ext>
            </a:extLst>
          </p:cNvPr>
          <p:cNvCxnSpPr/>
          <p:nvPr userDrawn="1"/>
        </p:nvCxnSpPr>
        <p:spPr>
          <a:xfrm>
            <a:off x="9389111" y="4720097"/>
            <a:ext cx="1463040" cy="0"/>
          </a:xfrm>
          <a:prstGeom prst="line">
            <a:avLst/>
          </a:prstGeom>
          <a:ln w="18034">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ED3A1797-7173-43F0-96BB-5B2509B07D40}"/>
              </a:ext>
            </a:extLst>
          </p:cNvPr>
          <p:cNvCxnSpPr/>
          <p:nvPr userDrawn="1"/>
        </p:nvCxnSpPr>
        <p:spPr>
          <a:xfrm>
            <a:off x="3342683" y="4720097"/>
            <a:ext cx="1463040" cy="0"/>
          </a:xfrm>
          <a:prstGeom prst="line">
            <a:avLst/>
          </a:prstGeom>
          <a:ln w="18034">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8F57D6FD-153E-4271-A26B-6B7B47B56BC4}"/>
              </a:ext>
            </a:extLst>
          </p:cNvPr>
          <p:cNvCxnSpPr/>
          <p:nvPr userDrawn="1"/>
        </p:nvCxnSpPr>
        <p:spPr>
          <a:xfrm>
            <a:off x="5358159" y="4720097"/>
            <a:ext cx="1463040" cy="0"/>
          </a:xfrm>
          <a:prstGeom prst="line">
            <a:avLst/>
          </a:prstGeom>
          <a:ln w="18034">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DECBFAE-DE37-481F-AC90-D235D81CA640}"/>
              </a:ext>
            </a:extLst>
          </p:cNvPr>
          <p:cNvCxnSpPr/>
          <p:nvPr userDrawn="1"/>
        </p:nvCxnSpPr>
        <p:spPr>
          <a:xfrm>
            <a:off x="7373635" y="4719187"/>
            <a:ext cx="1463040" cy="0"/>
          </a:xfrm>
          <a:prstGeom prst="line">
            <a:avLst/>
          </a:prstGeom>
          <a:ln w="18034">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sp>
        <p:nvSpPr>
          <p:cNvPr id="149" name="Picture Placeholder 60">
            <a:extLst>
              <a:ext uri="{FF2B5EF4-FFF2-40B4-BE49-F238E27FC236}">
                <a16:creationId xmlns:a16="http://schemas.microsoft.com/office/drawing/2014/main" id="{AC1E6DBA-4961-406D-AC16-A1FBE347F6BD}"/>
              </a:ext>
            </a:extLst>
          </p:cNvPr>
          <p:cNvSpPr>
            <a:spLocks noGrp="1"/>
          </p:cNvSpPr>
          <p:nvPr>
            <p:ph type="pic" sz="quarter" idx="26"/>
          </p:nvPr>
        </p:nvSpPr>
        <p:spPr>
          <a:xfrm>
            <a:off x="10564651" y="869401"/>
            <a:ext cx="969264" cy="969264"/>
          </a:xfrm>
          <a:prstGeom prst="ellipse">
            <a:avLst/>
          </a:prstGeom>
        </p:spPr>
        <p:txBody>
          <a:bodyPr anchor="ctr" anchorCtr="0">
            <a:noAutofit/>
          </a:bodyPr>
          <a:lstStyle>
            <a:lvl1pPr marL="0" indent="0" algn="ctr">
              <a:buNone/>
              <a:defRPr sz="1200"/>
            </a:lvl1pPr>
          </a:lstStyle>
          <a:p>
            <a:r>
              <a:rPr lang="en-US"/>
              <a:t>Click icon to add picture</a:t>
            </a:r>
            <a:endParaRPr lang="ru-RU"/>
          </a:p>
        </p:txBody>
      </p:sp>
      <p:sp>
        <p:nvSpPr>
          <p:cNvPr id="152" name="Text Placeholder 150">
            <a:extLst>
              <a:ext uri="{FF2B5EF4-FFF2-40B4-BE49-F238E27FC236}">
                <a16:creationId xmlns:a16="http://schemas.microsoft.com/office/drawing/2014/main" id="{AF955F46-550D-4FBD-949A-CAB1780A818A}"/>
              </a:ext>
            </a:extLst>
          </p:cNvPr>
          <p:cNvSpPr>
            <a:spLocks noGrp="1"/>
          </p:cNvSpPr>
          <p:nvPr>
            <p:ph type="body" sz="quarter" idx="27"/>
          </p:nvPr>
        </p:nvSpPr>
        <p:spPr>
          <a:xfrm>
            <a:off x="1221727" y="4789894"/>
            <a:ext cx="1674000" cy="1151441"/>
          </a:xfrm>
        </p:spPr>
        <p:txBody>
          <a:bodyPr/>
          <a:lstStyle>
            <a:lvl1pPr marL="0" indent="0" algn="ctr">
              <a:buNone/>
              <a:defRPr/>
            </a:lvl1pPr>
          </a:lstStyle>
          <a:p>
            <a:pPr lvl="0"/>
            <a:r>
              <a:rPr lang="en-US"/>
              <a:t>Click to edit Master text styles</a:t>
            </a:r>
          </a:p>
        </p:txBody>
      </p:sp>
      <p:sp>
        <p:nvSpPr>
          <p:cNvPr id="155" name="Text Placeholder 153">
            <a:extLst>
              <a:ext uri="{FF2B5EF4-FFF2-40B4-BE49-F238E27FC236}">
                <a16:creationId xmlns:a16="http://schemas.microsoft.com/office/drawing/2014/main" id="{7EA772E2-9F56-4EFF-9C41-27E673E90510}"/>
              </a:ext>
            </a:extLst>
          </p:cNvPr>
          <p:cNvSpPr>
            <a:spLocks noGrp="1"/>
          </p:cNvSpPr>
          <p:nvPr>
            <p:ph type="body" sz="quarter" idx="28" hasCustomPrompt="1"/>
          </p:nvPr>
        </p:nvSpPr>
        <p:spPr>
          <a:xfrm>
            <a:off x="1148995" y="4174901"/>
            <a:ext cx="1800000" cy="581767"/>
          </a:xfrm>
        </p:spPr>
        <p:txBody>
          <a:bodyPr>
            <a:noAutofit/>
          </a:bodyPr>
          <a:lstStyle>
            <a:lvl1pPr marL="0" indent="0" algn="ctr">
              <a:buNone/>
              <a:defRPr sz="2500" b="1" i="0">
                <a:solidFill>
                  <a:srgbClr val="313650"/>
                </a:solidFill>
                <a:latin typeface="+mj-lt"/>
              </a:defRPr>
            </a:lvl1pPr>
            <a:lvl2pPr marL="457189" indent="0" algn="ctr">
              <a:buNone/>
              <a:defRPr sz="3000">
                <a:latin typeface="+mj-lt"/>
              </a:defRPr>
            </a:lvl2pPr>
            <a:lvl3pPr marL="914377" indent="0" algn="ctr">
              <a:buNone/>
              <a:defRPr sz="3000">
                <a:latin typeface="+mj-lt"/>
              </a:defRPr>
            </a:lvl3pPr>
            <a:lvl4pPr marL="1371566" indent="0" algn="ctr">
              <a:buNone/>
              <a:defRPr sz="3000">
                <a:latin typeface="+mj-lt"/>
              </a:defRPr>
            </a:lvl4pPr>
            <a:lvl5pPr marL="1828754" indent="0" algn="ctr">
              <a:buNone/>
              <a:defRPr sz="3000">
                <a:latin typeface="+mj-lt"/>
              </a:defRPr>
            </a:lvl5pPr>
          </a:lstStyle>
          <a:p>
            <a:pPr lvl="0"/>
            <a:r>
              <a:rPr lang="en-US"/>
              <a:t>Step 1</a:t>
            </a:r>
            <a:endParaRPr lang="ru-RU"/>
          </a:p>
        </p:txBody>
      </p:sp>
      <p:sp>
        <p:nvSpPr>
          <p:cNvPr id="156" name="Text Placeholder 150">
            <a:extLst>
              <a:ext uri="{FF2B5EF4-FFF2-40B4-BE49-F238E27FC236}">
                <a16:creationId xmlns:a16="http://schemas.microsoft.com/office/drawing/2014/main" id="{9E3D3168-A898-4150-AF7E-862B31691E1B}"/>
              </a:ext>
            </a:extLst>
          </p:cNvPr>
          <p:cNvSpPr>
            <a:spLocks noGrp="1"/>
          </p:cNvSpPr>
          <p:nvPr>
            <p:ph type="body" sz="quarter" idx="29"/>
          </p:nvPr>
        </p:nvSpPr>
        <p:spPr>
          <a:xfrm>
            <a:off x="9285235" y="4789894"/>
            <a:ext cx="1674000" cy="1151441"/>
          </a:xfrm>
        </p:spPr>
        <p:txBody>
          <a:bodyPr/>
          <a:lstStyle>
            <a:lvl1pPr marL="0" indent="0" algn="ctr">
              <a:buNone/>
              <a:defRPr/>
            </a:lvl1pPr>
          </a:lstStyle>
          <a:p>
            <a:pPr lvl="0"/>
            <a:r>
              <a:rPr lang="en-US"/>
              <a:t>Click to edit Master text styles</a:t>
            </a:r>
          </a:p>
        </p:txBody>
      </p:sp>
      <p:sp>
        <p:nvSpPr>
          <p:cNvPr id="157" name="Text Placeholder 153">
            <a:extLst>
              <a:ext uri="{FF2B5EF4-FFF2-40B4-BE49-F238E27FC236}">
                <a16:creationId xmlns:a16="http://schemas.microsoft.com/office/drawing/2014/main" id="{BA9C2567-2AF9-4A73-8B7C-5B63B5C2B633}"/>
              </a:ext>
            </a:extLst>
          </p:cNvPr>
          <p:cNvSpPr>
            <a:spLocks noGrp="1"/>
          </p:cNvSpPr>
          <p:nvPr>
            <p:ph type="body" sz="quarter" idx="30" hasCustomPrompt="1"/>
          </p:nvPr>
        </p:nvSpPr>
        <p:spPr>
          <a:xfrm>
            <a:off x="9217699" y="4174901"/>
            <a:ext cx="1800000" cy="581767"/>
          </a:xfrm>
        </p:spPr>
        <p:txBody>
          <a:bodyPr>
            <a:noAutofit/>
          </a:bodyPr>
          <a:lstStyle>
            <a:lvl1pPr marL="0" indent="0" algn="ctr">
              <a:buNone/>
              <a:defRPr sz="2500" b="1" i="0">
                <a:solidFill>
                  <a:srgbClr val="313650"/>
                </a:solidFill>
                <a:latin typeface="+mj-lt"/>
              </a:defRPr>
            </a:lvl1pPr>
            <a:lvl2pPr marL="457189" indent="0" algn="ctr">
              <a:buNone/>
              <a:defRPr sz="3000">
                <a:latin typeface="+mj-lt"/>
              </a:defRPr>
            </a:lvl2pPr>
            <a:lvl3pPr marL="914377" indent="0" algn="ctr">
              <a:buNone/>
              <a:defRPr sz="3000">
                <a:latin typeface="+mj-lt"/>
              </a:defRPr>
            </a:lvl3pPr>
            <a:lvl4pPr marL="1371566" indent="0" algn="ctr">
              <a:buNone/>
              <a:defRPr sz="3000">
                <a:latin typeface="+mj-lt"/>
              </a:defRPr>
            </a:lvl4pPr>
            <a:lvl5pPr marL="1828754" indent="0" algn="ctr">
              <a:buNone/>
              <a:defRPr sz="3000">
                <a:latin typeface="+mj-lt"/>
              </a:defRPr>
            </a:lvl5pPr>
          </a:lstStyle>
          <a:p>
            <a:pPr lvl="0"/>
            <a:r>
              <a:rPr lang="en-US"/>
              <a:t>Step 5</a:t>
            </a:r>
            <a:endParaRPr lang="ru-RU"/>
          </a:p>
        </p:txBody>
      </p:sp>
      <p:sp>
        <p:nvSpPr>
          <p:cNvPr id="158" name="Text Placeholder 150">
            <a:extLst>
              <a:ext uri="{FF2B5EF4-FFF2-40B4-BE49-F238E27FC236}">
                <a16:creationId xmlns:a16="http://schemas.microsoft.com/office/drawing/2014/main" id="{DA2B3D14-3067-45E6-9BBE-133B7365D723}"/>
              </a:ext>
            </a:extLst>
          </p:cNvPr>
          <p:cNvSpPr>
            <a:spLocks noGrp="1"/>
          </p:cNvSpPr>
          <p:nvPr>
            <p:ph type="body" sz="quarter" idx="31"/>
          </p:nvPr>
        </p:nvSpPr>
        <p:spPr>
          <a:xfrm>
            <a:off x="3237603" y="4789894"/>
            <a:ext cx="1674000" cy="1151441"/>
          </a:xfrm>
        </p:spPr>
        <p:txBody>
          <a:bodyPr/>
          <a:lstStyle>
            <a:lvl1pPr marL="0" indent="0" algn="ctr">
              <a:buNone/>
              <a:defRPr/>
            </a:lvl1pPr>
          </a:lstStyle>
          <a:p>
            <a:pPr lvl="0"/>
            <a:r>
              <a:rPr lang="en-US"/>
              <a:t>Click to edit Master text styles</a:t>
            </a:r>
          </a:p>
        </p:txBody>
      </p:sp>
      <p:sp>
        <p:nvSpPr>
          <p:cNvPr id="159" name="Text Placeholder 153">
            <a:extLst>
              <a:ext uri="{FF2B5EF4-FFF2-40B4-BE49-F238E27FC236}">
                <a16:creationId xmlns:a16="http://schemas.microsoft.com/office/drawing/2014/main" id="{AD3DE571-16BA-4C29-B339-2DE7A54C1158}"/>
              </a:ext>
            </a:extLst>
          </p:cNvPr>
          <p:cNvSpPr>
            <a:spLocks noGrp="1"/>
          </p:cNvSpPr>
          <p:nvPr>
            <p:ph type="body" sz="quarter" idx="32" hasCustomPrompt="1"/>
          </p:nvPr>
        </p:nvSpPr>
        <p:spPr>
          <a:xfrm>
            <a:off x="3166171" y="4174901"/>
            <a:ext cx="1800000" cy="581767"/>
          </a:xfrm>
        </p:spPr>
        <p:txBody>
          <a:bodyPr>
            <a:noAutofit/>
          </a:bodyPr>
          <a:lstStyle>
            <a:lvl1pPr marL="0" indent="0" algn="ctr">
              <a:buNone/>
              <a:defRPr sz="2500" b="1" i="0">
                <a:solidFill>
                  <a:srgbClr val="313650"/>
                </a:solidFill>
                <a:latin typeface="+mj-lt"/>
              </a:defRPr>
            </a:lvl1pPr>
            <a:lvl2pPr marL="457189" indent="0" algn="ctr">
              <a:buNone/>
              <a:defRPr sz="3000">
                <a:latin typeface="+mj-lt"/>
              </a:defRPr>
            </a:lvl2pPr>
            <a:lvl3pPr marL="914377" indent="0" algn="ctr">
              <a:buNone/>
              <a:defRPr sz="3000">
                <a:latin typeface="+mj-lt"/>
              </a:defRPr>
            </a:lvl3pPr>
            <a:lvl4pPr marL="1371566" indent="0" algn="ctr">
              <a:buNone/>
              <a:defRPr sz="3000">
                <a:latin typeface="+mj-lt"/>
              </a:defRPr>
            </a:lvl4pPr>
            <a:lvl5pPr marL="1828754" indent="0" algn="ctr">
              <a:buNone/>
              <a:defRPr sz="3000">
                <a:latin typeface="+mj-lt"/>
              </a:defRPr>
            </a:lvl5pPr>
          </a:lstStyle>
          <a:p>
            <a:pPr lvl="0"/>
            <a:r>
              <a:rPr lang="en-US"/>
              <a:t>Step 2</a:t>
            </a:r>
            <a:endParaRPr lang="ru-RU"/>
          </a:p>
        </p:txBody>
      </p:sp>
      <p:sp>
        <p:nvSpPr>
          <p:cNvPr id="160" name="Text Placeholder 150">
            <a:extLst>
              <a:ext uri="{FF2B5EF4-FFF2-40B4-BE49-F238E27FC236}">
                <a16:creationId xmlns:a16="http://schemas.microsoft.com/office/drawing/2014/main" id="{D9FE4127-9BA3-4B00-9BBC-67A05E58DA7C}"/>
              </a:ext>
            </a:extLst>
          </p:cNvPr>
          <p:cNvSpPr>
            <a:spLocks noGrp="1"/>
          </p:cNvSpPr>
          <p:nvPr>
            <p:ph type="body" sz="quarter" idx="33"/>
          </p:nvPr>
        </p:nvSpPr>
        <p:spPr>
          <a:xfrm>
            <a:off x="5253480" y="4789894"/>
            <a:ext cx="1674000" cy="1151441"/>
          </a:xfrm>
        </p:spPr>
        <p:txBody>
          <a:bodyPr/>
          <a:lstStyle>
            <a:lvl1pPr marL="0" indent="0" algn="ctr">
              <a:buNone/>
              <a:defRPr/>
            </a:lvl1pPr>
          </a:lstStyle>
          <a:p>
            <a:pPr lvl="0"/>
            <a:r>
              <a:rPr lang="en-US"/>
              <a:t>Click to edit Master text styles</a:t>
            </a:r>
          </a:p>
        </p:txBody>
      </p:sp>
      <p:sp>
        <p:nvSpPr>
          <p:cNvPr id="161" name="Text Placeholder 153">
            <a:extLst>
              <a:ext uri="{FF2B5EF4-FFF2-40B4-BE49-F238E27FC236}">
                <a16:creationId xmlns:a16="http://schemas.microsoft.com/office/drawing/2014/main" id="{88D6F3B6-2D7F-49D3-96A4-AA7B23F2A64A}"/>
              </a:ext>
            </a:extLst>
          </p:cNvPr>
          <p:cNvSpPr>
            <a:spLocks noGrp="1"/>
          </p:cNvSpPr>
          <p:nvPr>
            <p:ph type="body" sz="quarter" idx="34" hasCustomPrompt="1"/>
          </p:nvPr>
        </p:nvSpPr>
        <p:spPr>
          <a:xfrm>
            <a:off x="5183347" y="4174901"/>
            <a:ext cx="1800000" cy="581767"/>
          </a:xfrm>
        </p:spPr>
        <p:txBody>
          <a:bodyPr>
            <a:noAutofit/>
          </a:bodyPr>
          <a:lstStyle>
            <a:lvl1pPr marL="0" indent="0" algn="ctr">
              <a:buNone/>
              <a:defRPr sz="2500" b="1" i="0">
                <a:solidFill>
                  <a:srgbClr val="313650"/>
                </a:solidFill>
                <a:latin typeface="+mj-lt"/>
              </a:defRPr>
            </a:lvl1pPr>
            <a:lvl2pPr marL="457189" indent="0" algn="ctr">
              <a:buNone/>
              <a:defRPr sz="3000">
                <a:latin typeface="+mj-lt"/>
              </a:defRPr>
            </a:lvl2pPr>
            <a:lvl3pPr marL="914377" indent="0" algn="ctr">
              <a:buNone/>
              <a:defRPr sz="3000">
                <a:latin typeface="+mj-lt"/>
              </a:defRPr>
            </a:lvl3pPr>
            <a:lvl4pPr marL="1371566" indent="0" algn="ctr">
              <a:buNone/>
              <a:defRPr sz="3000">
                <a:latin typeface="+mj-lt"/>
              </a:defRPr>
            </a:lvl4pPr>
            <a:lvl5pPr marL="1828754" indent="0" algn="ctr">
              <a:buNone/>
              <a:defRPr sz="3000">
                <a:latin typeface="+mj-lt"/>
              </a:defRPr>
            </a:lvl5pPr>
          </a:lstStyle>
          <a:p>
            <a:pPr lvl="0"/>
            <a:r>
              <a:rPr lang="en-US"/>
              <a:t>Step 3</a:t>
            </a:r>
            <a:endParaRPr lang="ru-RU"/>
          </a:p>
        </p:txBody>
      </p:sp>
      <p:sp>
        <p:nvSpPr>
          <p:cNvPr id="162" name="Text Placeholder 150">
            <a:extLst>
              <a:ext uri="{FF2B5EF4-FFF2-40B4-BE49-F238E27FC236}">
                <a16:creationId xmlns:a16="http://schemas.microsoft.com/office/drawing/2014/main" id="{E6DF83B4-F73A-46B0-BC1D-074BF03B3B8D}"/>
              </a:ext>
            </a:extLst>
          </p:cNvPr>
          <p:cNvSpPr>
            <a:spLocks noGrp="1"/>
          </p:cNvSpPr>
          <p:nvPr>
            <p:ph type="body" sz="quarter" idx="35"/>
          </p:nvPr>
        </p:nvSpPr>
        <p:spPr>
          <a:xfrm>
            <a:off x="7269357" y="4789894"/>
            <a:ext cx="1674000" cy="1151441"/>
          </a:xfrm>
        </p:spPr>
        <p:txBody>
          <a:bodyPr/>
          <a:lstStyle>
            <a:lvl1pPr marL="0" indent="0" algn="ctr">
              <a:buNone/>
              <a:defRPr/>
            </a:lvl1pPr>
          </a:lstStyle>
          <a:p>
            <a:pPr lvl="0"/>
            <a:r>
              <a:rPr lang="en-US"/>
              <a:t>Click to edit Master text styles</a:t>
            </a:r>
          </a:p>
        </p:txBody>
      </p:sp>
      <p:sp>
        <p:nvSpPr>
          <p:cNvPr id="163" name="Text Placeholder 153">
            <a:extLst>
              <a:ext uri="{FF2B5EF4-FFF2-40B4-BE49-F238E27FC236}">
                <a16:creationId xmlns:a16="http://schemas.microsoft.com/office/drawing/2014/main" id="{45821A5A-E756-4A87-B0C8-A23317B4EFF3}"/>
              </a:ext>
            </a:extLst>
          </p:cNvPr>
          <p:cNvSpPr>
            <a:spLocks noGrp="1"/>
          </p:cNvSpPr>
          <p:nvPr>
            <p:ph type="body" sz="quarter" idx="36" hasCustomPrompt="1"/>
          </p:nvPr>
        </p:nvSpPr>
        <p:spPr>
          <a:xfrm>
            <a:off x="7200523" y="4174901"/>
            <a:ext cx="1800000" cy="581767"/>
          </a:xfrm>
        </p:spPr>
        <p:txBody>
          <a:bodyPr>
            <a:noAutofit/>
          </a:bodyPr>
          <a:lstStyle>
            <a:lvl1pPr marL="0" indent="0" algn="ctr">
              <a:buNone/>
              <a:defRPr sz="2500" b="1" i="0">
                <a:solidFill>
                  <a:srgbClr val="313650"/>
                </a:solidFill>
                <a:latin typeface="+mj-lt"/>
              </a:defRPr>
            </a:lvl1pPr>
            <a:lvl2pPr marL="457189" indent="0" algn="ctr">
              <a:buNone/>
              <a:defRPr sz="3000">
                <a:latin typeface="+mj-lt"/>
              </a:defRPr>
            </a:lvl2pPr>
            <a:lvl3pPr marL="914377" indent="0" algn="ctr">
              <a:buNone/>
              <a:defRPr sz="3000">
                <a:latin typeface="+mj-lt"/>
              </a:defRPr>
            </a:lvl3pPr>
            <a:lvl4pPr marL="1371566" indent="0" algn="ctr">
              <a:buNone/>
              <a:defRPr sz="3000">
                <a:latin typeface="+mj-lt"/>
              </a:defRPr>
            </a:lvl4pPr>
            <a:lvl5pPr marL="1828754" indent="0" algn="ctr">
              <a:buNone/>
              <a:defRPr sz="3000">
                <a:latin typeface="+mj-lt"/>
              </a:defRPr>
            </a:lvl5pPr>
          </a:lstStyle>
          <a:p>
            <a:pPr lvl="0"/>
            <a:r>
              <a:rPr lang="en-US"/>
              <a:t>Step 4</a:t>
            </a:r>
            <a:endParaRPr lang="ru-RU"/>
          </a:p>
        </p:txBody>
      </p:sp>
    </p:spTree>
    <p:extLst>
      <p:ext uri="{BB962C8B-B14F-4D97-AF65-F5344CB8AC3E}">
        <p14:creationId xmlns:p14="http://schemas.microsoft.com/office/powerpoint/2010/main" val="3275217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0BD68B66-8EB6-8EF1-AC7E-D5B2D96E4984}"/>
              </a:ext>
            </a:extLst>
          </p:cNvPr>
          <p:cNvSpPr>
            <a:spLocks noGrp="1"/>
          </p:cNvSpPr>
          <p:nvPr>
            <p:ph type="pic" sz="quarter" idx="36" hasCustomPrompt="1"/>
          </p:nvPr>
        </p:nvSpPr>
        <p:spPr>
          <a:xfrm>
            <a:off x="0" y="-22034"/>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dirty="0"/>
              <a:t>Add image by clicking on icon and set image in background</a:t>
            </a:r>
            <a:endParaRPr lang="en-GB" noProof="0" dirty="0"/>
          </a:p>
          <a:p>
            <a:endParaRPr lang="en-GB" dirty="0"/>
          </a:p>
        </p:txBody>
      </p:sp>
      <p:sp>
        <p:nvSpPr>
          <p:cNvPr id="10" name="Text Placeholder 12">
            <a:extLst>
              <a:ext uri="{FF2B5EF4-FFF2-40B4-BE49-F238E27FC236}">
                <a16:creationId xmlns:a16="http://schemas.microsoft.com/office/drawing/2014/main" id="{BEA58FC5-5C43-BB40-DEC5-4633C9CEDD2E}"/>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a:t>Click to edit Master text styles</a:t>
            </a:r>
          </a:p>
        </p:txBody>
      </p:sp>
      <p:sp>
        <p:nvSpPr>
          <p:cNvPr id="16" name="Text Placeholder 15">
            <a:extLst>
              <a:ext uri="{FF2B5EF4-FFF2-40B4-BE49-F238E27FC236}">
                <a16:creationId xmlns:a16="http://schemas.microsoft.com/office/drawing/2014/main" id="{B73283CE-AF77-52E5-7120-462AEF9A41E8}"/>
              </a:ext>
            </a:extLst>
          </p:cNvPr>
          <p:cNvSpPr>
            <a:spLocks noGrp="1"/>
          </p:cNvSpPr>
          <p:nvPr>
            <p:ph type="body" sz="quarter" idx="40"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dirty="0"/>
              <a:t> </a:t>
            </a:r>
          </a:p>
        </p:txBody>
      </p:sp>
      <p:graphicFrame>
        <p:nvGraphicFramePr>
          <p:cNvPr id="4" name="Object 3" hidden="1">
            <a:extLst>
              <a:ext uri="{FF2B5EF4-FFF2-40B4-BE49-F238E27FC236}">
                <a16:creationId xmlns:a16="http://schemas.microsoft.com/office/drawing/2014/main" id="{8314C205-CA11-0862-9693-9FFF06A446E4}"/>
              </a:ext>
            </a:extLst>
          </p:cNvPr>
          <p:cNvGraphicFramePr>
            <a:graphicFrameLocks noChangeAspect="1"/>
          </p:cNvGraphicFramePr>
          <p:nvPr>
            <p:custDataLst>
              <p:tags r:id="rId1"/>
            </p:custDataLst>
            <p:extLst>
              <p:ext uri="{D42A27DB-BD31-4B8C-83A1-F6EECF244321}">
                <p14:modId xmlns:p14="http://schemas.microsoft.com/office/powerpoint/2010/main" val="2671689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8314C205-CA11-0862-9693-9FFF06A446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Textfeld 64">
            <a:extLst>
              <a:ext uri="{FF2B5EF4-FFF2-40B4-BE49-F238E27FC236}">
                <a16:creationId xmlns:a16="http://schemas.microsoft.com/office/drawing/2014/main" id="{A6A875DC-6707-9BE3-0EFB-142B3C254312}"/>
              </a:ext>
            </a:extLst>
          </p:cNvPr>
          <p:cNvSpPr txBox="1"/>
          <p:nvPr/>
        </p:nvSpPr>
        <p:spPr bwMode="gray">
          <a:xfrm>
            <a:off x="388615" y="6377271"/>
            <a:ext cx="1293822" cy="123111"/>
          </a:xfrm>
          <a:prstGeom prst="rect">
            <a:avLst/>
          </a:prstGeom>
          <a:noFill/>
        </p:spPr>
        <p:txBody>
          <a:bodyPr wrap="square" lIns="0" tIns="0" rIns="0" bIns="0" rtlCol="0">
            <a:spAutoFit/>
          </a:bodyPr>
          <a:lstStyle/>
          <a:p>
            <a:r>
              <a:rPr lang="en-US" sz="800" noProof="0">
                <a:solidFill>
                  <a:schemeClr val="bg1"/>
                </a:solidFill>
                <a:latin typeface="+mj-lt"/>
              </a:rPr>
              <a:t>Heidelberg Materials</a:t>
            </a:r>
            <a:endParaRPr lang="en-US" sz="800" noProof="0" dirty="0">
              <a:solidFill>
                <a:schemeClr val="bg1"/>
              </a:solidFill>
              <a:latin typeface="+mj-lt"/>
            </a:endParaRPr>
          </a:p>
        </p:txBody>
      </p:sp>
      <p:sp>
        <p:nvSpPr>
          <p:cNvPr id="3" name="Titel 57">
            <a:extLst>
              <a:ext uri="{FF2B5EF4-FFF2-40B4-BE49-F238E27FC236}">
                <a16:creationId xmlns:a16="http://schemas.microsoft.com/office/drawing/2014/main" id="{11487B52-A5EC-9531-194F-B0CEA00FDAFB}"/>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dirty="0"/>
              <a:t>Presentation title</a:t>
            </a:r>
          </a:p>
        </p:txBody>
      </p:sp>
      <p:sp>
        <p:nvSpPr>
          <p:cNvPr id="11" name="Datumsplatzhalter 58">
            <a:extLst>
              <a:ext uri="{FF2B5EF4-FFF2-40B4-BE49-F238E27FC236}">
                <a16:creationId xmlns:a16="http://schemas.microsoft.com/office/drawing/2014/main" id="{78C714DE-1286-2A2E-0C68-0AEA19A46D75}"/>
              </a:ext>
            </a:extLst>
          </p:cNvPr>
          <p:cNvSpPr>
            <a:spLocks noGrp="1"/>
          </p:cNvSpPr>
          <p:nvPr>
            <p:ph type="dt" sz="half" idx="10"/>
          </p:nvPr>
        </p:nvSpPr>
        <p:spPr bwMode="gray">
          <a:xfrm>
            <a:off x="1666016" y="4341166"/>
            <a:ext cx="5322957" cy="295466"/>
          </a:xfrm>
          <a:prstGeom prst="rect">
            <a:avLst/>
          </a:prstGeom>
        </p:spPr>
        <p:txBody>
          <a:bodyPr>
            <a:spAutoFit/>
          </a:bodyPr>
          <a:lstStyle>
            <a:lvl1pPr>
              <a:defRPr sz="1200">
                <a:solidFill>
                  <a:schemeClr val="bg1"/>
                </a:solidFill>
              </a:defRPr>
            </a:lvl1pPr>
          </a:lstStyle>
          <a:p>
            <a:r>
              <a:rPr lang="en-US" noProof="0"/>
              <a:t>01.23.2023</a:t>
            </a:r>
            <a:endParaRPr lang="en-US" noProof="0" dirty="0"/>
          </a:p>
        </p:txBody>
      </p:sp>
      <p:sp>
        <p:nvSpPr>
          <p:cNvPr id="12" name="Fußzeilenplatzhalter 59">
            <a:extLst>
              <a:ext uri="{FF2B5EF4-FFF2-40B4-BE49-F238E27FC236}">
                <a16:creationId xmlns:a16="http://schemas.microsoft.com/office/drawing/2014/main" id="{769AB8E6-3970-76DB-4FF7-93F3E4B62E29}"/>
              </a:ext>
            </a:extLst>
          </p:cNvPr>
          <p:cNvSpPr>
            <a:spLocks noGrp="1"/>
          </p:cNvSpPr>
          <p:nvPr>
            <p:ph type="ftr" sz="quarter" idx="11"/>
          </p:nvPr>
        </p:nvSpPr>
        <p:spPr bwMode="gray">
          <a:xfrm>
            <a:off x="1666016" y="3983600"/>
            <a:ext cx="5322957" cy="295466"/>
          </a:xfrm>
          <a:prstGeom prst="rect">
            <a:avLst/>
          </a:prstGeom>
        </p:spPr>
        <p:txBody>
          <a:bodyPr anchor="b">
            <a:spAutoFit/>
          </a:bodyPr>
          <a:lstStyle>
            <a:lvl1pPr>
              <a:defRPr sz="1200">
                <a:solidFill>
                  <a:schemeClr val="bg1"/>
                </a:solidFill>
              </a:defRPr>
            </a:lvl1pPr>
          </a:lstStyle>
          <a:p>
            <a:r>
              <a:rPr lang="en-US" noProof="0"/>
              <a:t>Basalite Meeting | Delta BC | Ignacio Cariaga &amp; Brandon Livingstone </a:t>
            </a:r>
            <a:endParaRPr lang="en-US" noProof="0" dirty="0"/>
          </a:p>
        </p:txBody>
      </p:sp>
      <p:sp>
        <p:nvSpPr>
          <p:cNvPr id="5" name="Text Placeholder 7">
            <a:extLst>
              <a:ext uri="{FF2B5EF4-FFF2-40B4-BE49-F238E27FC236}">
                <a16:creationId xmlns:a16="http://schemas.microsoft.com/office/drawing/2014/main" id="{CD0AEB1D-726A-A978-3CA0-425BC56EA77D}"/>
              </a:ext>
            </a:extLst>
          </p:cNvPr>
          <p:cNvSpPr>
            <a:spLocks noGrp="1"/>
          </p:cNvSpPr>
          <p:nvPr>
            <p:ph type="body" sz="quarter" idx="35" hasCustomPrompt="1"/>
          </p:nvPr>
        </p:nvSpPr>
        <p:spPr>
          <a:xfrm>
            <a:off x="11295111" y="5981426"/>
            <a:ext cx="508274" cy="508274"/>
          </a:xfrm>
          <a:blipFill>
            <a:blip r:embed="rId9"/>
            <a:stretch>
              <a:fillRect/>
            </a:stretch>
          </a:blipFill>
        </p:spPr>
        <p:txBody>
          <a:bodyPr/>
          <a:lstStyle>
            <a:lvl1pPr>
              <a:defRPr sz="100"/>
            </a:lvl1pPr>
          </a:lstStyle>
          <a:p>
            <a:pPr lvl="0"/>
            <a:r>
              <a:rPr lang="de-DE" dirty="0"/>
              <a:t> </a:t>
            </a:r>
            <a:endParaRPr lang="en-US" dirty="0"/>
          </a:p>
        </p:txBody>
      </p:sp>
      <p:sp>
        <p:nvSpPr>
          <p:cNvPr id="13" name="Textfeld 8">
            <a:extLst>
              <a:ext uri="{FF2B5EF4-FFF2-40B4-BE49-F238E27FC236}">
                <a16:creationId xmlns:a16="http://schemas.microsoft.com/office/drawing/2014/main" id="{F9290F85-CF8D-40EC-99DF-6660334750AB}"/>
              </a:ext>
            </a:extLst>
          </p:cNvPr>
          <p:cNvSpPr txBox="1"/>
          <p:nvPr userDrawn="1"/>
        </p:nvSpPr>
        <p:spPr>
          <a:xfrm>
            <a:off x="3466593" y="6391656"/>
            <a:ext cx="5400000" cy="180000"/>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Calibri Light" panose="020F0302020204030204" pitchFamily="34" charset="0"/>
              </a:rPr>
              <a:t>Event | Location | Topic | Author</a:t>
            </a:r>
          </a:p>
        </p:txBody>
      </p:sp>
      <p:sp>
        <p:nvSpPr>
          <p:cNvPr id="14" name="Textfeld 8">
            <a:extLst>
              <a:ext uri="{FF2B5EF4-FFF2-40B4-BE49-F238E27FC236}">
                <a16:creationId xmlns:a16="http://schemas.microsoft.com/office/drawing/2014/main" id="{78EA8AF1-146B-43A4-A456-F5BBC55AFD06}"/>
              </a:ext>
            </a:extLst>
          </p:cNvPr>
          <p:cNvSpPr txBox="1"/>
          <p:nvPr userDrawn="1"/>
        </p:nvSpPr>
        <p:spPr>
          <a:xfrm>
            <a:off x="2472508" y="6391656"/>
            <a:ext cx="831600" cy="157091"/>
          </a:xfrm>
          <a:prstGeom prst="rect">
            <a:avLst/>
          </a:prstGeom>
          <a:no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err="1">
                <a:solidFill>
                  <a:schemeClr val="tx1"/>
                </a:solidFill>
                <a:latin typeface="+mn-lt"/>
                <a:ea typeface="+mn-ea"/>
                <a:cs typeface="Calibri Light" panose="020F0302020204030204" pitchFamily="34" charset="0"/>
              </a:rPr>
              <a:t>mm.dd.yyyy</a:t>
            </a:r>
            <a:endParaRPr lang="en-US" sz="800" kern="1200" noProof="0" dirty="0">
              <a:solidFill>
                <a:schemeClr val="tx1"/>
              </a:solidFill>
              <a:latin typeface="+mn-lt"/>
              <a:ea typeface="+mn-ea"/>
              <a:cs typeface="Calibri Light" panose="020F0302020204030204" pitchFamily="34" charset="0"/>
            </a:endParaRPr>
          </a:p>
        </p:txBody>
      </p:sp>
      <p:pic>
        <p:nvPicPr>
          <p:cNvPr id="15" name="Graphic 14">
            <a:extLst>
              <a:ext uri="{FF2B5EF4-FFF2-40B4-BE49-F238E27FC236}">
                <a16:creationId xmlns:a16="http://schemas.microsoft.com/office/drawing/2014/main" id="{791CF1AA-6794-4415-8EE7-A0C293290EA3}"/>
              </a:ext>
            </a:extLst>
          </p:cNvPr>
          <p:cNvPicPr>
            <a:picLocks noChangeAspect="1"/>
          </p:cNvPicPr>
          <p:nvPr userDrawn="1"/>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5515" y="6410506"/>
            <a:ext cx="1062384" cy="103228"/>
          </a:xfrm>
          <a:prstGeom prst="rect">
            <a:avLst/>
          </a:prstGeom>
        </p:spPr>
      </p:pic>
    </p:spTree>
    <p:extLst>
      <p:ext uri="{BB962C8B-B14F-4D97-AF65-F5344CB8AC3E}">
        <p14:creationId xmlns:p14="http://schemas.microsoft.com/office/powerpoint/2010/main" val="2400747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DA0BCE-C6D4-6B3B-D6A4-CB8CD0A04257}"/>
              </a:ext>
            </a:extLst>
          </p:cNvPr>
          <p:cNvGraphicFramePr>
            <a:graphicFrameLocks noChangeAspect="1"/>
          </p:cNvGraphicFramePr>
          <p:nvPr>
            <p:custDataLst>
              <p:tags r:id="rId1"/>
            </p:custDataLst>
            <p:extLst>
              <p:ext uri="{D42A27DB-BD31-4B8C-83A1-F6EECF244321}">
                <p14:modId xmlns:p14="http://schemas.microsoft.com/office/powerpoint/2010/main" val="3686417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1BDA0BCE-C6D4-6B3B-D6A4-CB8CD0A042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a:xfrm>
            <a:off x="0" y="1"/>
            <a:ext cx="3095502" cy="5894023"/>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4260849" y="547147"/>
            <a:ext cx="7544691" cy="283219"/>
          </a:xfrm>
        </p:spPr>
        <p:txBody>
          <a:bodyPr vert="horz"/>
          <a:lstStyle>
            <a:lvl1pPr>
              <a:defRPr/>
            </a:lvl1pPr>
          </a:lstStyle>
          <a:p>
            <a:r>
              <a:rPr lang="en-US"/>
              <a:t>Agenda</a:t>
            </a:r>
            <a:endParaRPr lang="en-US" dirty="0"/>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a:xfrm>
            <a:off x="4260850" y="1527175"/>
            <a:ext cx="3676650" cy="264303"/>
          </a:xfrm>
        </p:spPr>
        <p:txBody>
          <a:bodyPr/>
          <a:lstStyle>
            <a:lvl1pPr marL="0" indent="0">
              <a:buNone/>
              <a:defRPr>
                <a:latin typeface="+mj-lt"/>
              </a:defRPr>
            </a:lvl1pPr>
          </a:lstStyle>
          <a:p>
            <a:pPr lvl="0"/>
            <a:r>
              <a:rPr lang="en-US"/>
              <a:t>Chapter 1</a:t>
            </a:r>
            <a:endParaRPr lang="en-US" dirty="0"/>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a:xfrm>
            <a:off x="4260850" y="3713026"/>
            <a:ext cx="3676650" cy="264303"/>
          </a:xfrm>
        </p:spPr>
        <p:txBody>
          <a:bodyPr/>
          <a:lstStyle>
            <a:lvl1pPr marL="0" indent="0">
              <a:buNone/>
              <a:defRPr>
                <a:latin typeface="+mj-lt"/>
              </a:defRPr>
            </a:lvl1pPr>
          </a:lstStyle>
          <a:p>
            <a:pPr lvl="0"/>
            <a:r>
              <a:rPr lang="en-US"/>
              <a:t>Chapter 2</a:t>
            </a:r>
            <a:endParaRPr lang="en-US" dirty="0"/>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a:xfrm>
            <a:off x="8135938" y="1529651"/>
            <a:ext cx="3676650" cy="264303"/>
          </a:xfrm>
        </p:spPr>
        <p:txBody>
          <a:bodyPr/>
          <a:lstStyle>
            <a:lvl1pPr marL="0" indent="0">
              <a:buNone/>
              <a:defRPr>
                <a:latin typeface="+mj-lt"/>
              </a:defRPr>
            </a:lvl1pPr>
          </a:lstStyle>
          <a:p>
            <a:pPr lvl="0"/>
            <a:r>
              <a:rPr lang="en-US"/>
              <a:t>Chapter 3</a:t>
            </a:r>
            <a:endParaRPr lang="en-US" dirty="0"/>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a:xfrm>
            <a:off x="8135938" y="3715501"/>
            <a:ext cx="3676650" cy="264303"/>
          </a:xfrm>
        </p:spPr>
        <p:txBody>
          <a:bodyPr/>
          <a:lstStyle>
            <a:lvl1pPr marL="0" indent="0">
              <a:buNone/>
              <a:defRPr>
                <a:latin typeface="+mj-lt"/>
              </a:defRPr>
            </a:lvl1pPr>
          </a:lstStyle>
          <a:p>
            <a:pPr lvl="0"/>
            <a:r>
              <a:rPr lang="en-US"/>
              <a:t>Chapter 4</a:t>
            </a:r>
            <a:endParaRPr lang="en-US" dirty="0"/>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a:xfrm>
            <a:off x="4260850" y="1791478"/>
            <a:ext cx="3676650" cy="1743885"/>
          </a:xfrm>
        </p:spPr>
        <p:txBody>
          <a:bodyPr tIns="90000" rIns="0">
            <a:noAutofit/>
          </a:bodyPr>
          <a:lstStyle>
            <a:lvl1pPr marL="447675" indent="-447675">
              <a:buFont typeface="+mj-lt"/>
              <a:buAutoNum type="arabicPeriod"/>
              <a:defRPr sz="1200"/>
            </a:lvl1pPr>
          </a:lstStyle>
          <a:p>
            <a:pPr lvl="0"/>
            <a:r>
              <a:rPr lang="en-US"/>
              <a:t>Lorem</a:t>
            </a:r>
          </a:p>
          <a:p>
            <a:pPr lvl="0"/>
            <a:r>
              <a:rPr lang="en-US"/>
              <a:t>Lorem</a:t>
            </a:r>
            <a:endParaRPr lang="en-US" dirty="0"/>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a:xfrm>
            <a:off x="4260850" y="3977329"/>
            <a:ext cx="3676650" cy="1743885"/>
          </a:xfrm>
        </p:spPr>
        <p:txBody>
          <a:bodyPr tIns="90000" rIns="0">
            <a:noAutofit/>
          </a:bodyPr>
          <a:lstStyle>
            <a:lvl1pPr marL="447675" indent="-447675">
              <a:buFont typeface="+mj-lt"/>
              <a:buAutoNum type="arabicPeriod"/>
              <a:defRPr sz="1200"/>
            </a:lvl1pPr>
          </a:lstStyle>
          <a:p>
            <a:pPr lvl="0"/>
            <a:r>
              <a:rPr lang="en-US"/>
              <a:t>Lorem</a:t>
            </a:r>
          </a:p>
          <a:p>
            <a:pPr lvl="0"/>
            <a:r>
              <a:rPr lang="en-US"/>
              <a:t>Lorem</a:t>
            </a:r>
            <a:endParaRPr lang="en-US" dirty="0"/>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a:xfrm>
            <a:off x="8135938" y="1793954"/>
            <a:ext cx="3676650" cy="1743885"/>
          </a:xfrm>
        </p:spPr>
        <p:txBody>
          <a:bodyPr tIns="90000" rIns="0">
            <a:noAutofit/>
          </a:bodyPr>
          <a:lstStyle>
            <a:lvl1pPr marL="447675" indent="-447675">
              <a:buFont typeface="+mj-lt"/>
              <a:buAutoNum type="arabicPeriod"/>
              <a:defRPr sz="1200"/>
            </a:lvl1pPr>
          </a:lstStyle>
          <a:p>
            <a:pPr lvl="0"/>
            <a:r>
              <a:rPr lang="en-US"/>
              <a:t>Lorem</a:t>
            </a:r>
          </a:p>
          <a:p>
            <a:pPr lvl="0"/>
            <a:r>
              <a:rPr lang="en-US"/>
              <a:t>Lorem</a:t>
            </a:r>
            <a:endParaRPr lang="en-US" dirty="0"/>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a:xfrm>
            <a:off x="8135938" y="3979804"/>
            <a:ext cx="3676650" cy="1743885"/>
          </a:xfrm>
        </p:spPr>
        <p:txBody>
          <a:bodyPr tIns="90000" rIns="0">
            <a:noAutofit/>
          </a:bodyPr>
          <a:lstStyle>
            <a:lvl1pPr marL="447675" indent="-447675">
              <a:buFont typeface="+mj-lt"/>
              <a:buAutoNum type="arabicPeriod"/>
              <a:defRPr sz="1200"/>
            </a:lvl1pPr>
          </a:lstStyle>
          <a:p>
            <a:pPr lvl="0"/>
            <a:r>
              <a:rPr lang="en-US"/>
              <a:t>Lorem</a:t>
            </a:r>
          </a:p>
          <a:p>
            <a:pPr lvl="0"/>
            <a:r>
              <a:rPr lang="en-US"/>
              <a:t>Lorem</a:t>
            </a:r>
            <a:endParaRPr lang="en-US" dirty="0"/>
          </a:p>
        </p:txBody>
      </p:sp>
      <p:sp>
        <p:nvSpPr>
          <p:cNvPr id="12" name="Slide Number Placeholder 11">
            <a:extLst>
              <a:ext uri="{FF2B5EF4-FFF2-40B4-BE49-F238E27FC236}">
                <a16:creationId xmlns:a16="http://schemas.microsoft.com/office/drawing/2014/main" id="{9ECA0F19-7D7E-1D9B-7AF8-4E809F253014}"/>
              </a:ext>
            </a:extLst>
          </p:cNvPr>
          <p:cNvSpPr>
            <a:spLocks noGrp="1"/>
          </p:cNvSpPr>
          <p:nvPr>
            <p:ph type="sldNum" sz="quarter" idx="25"/>
          </p:nvPr>
        </p:nvSpPr>
        <p:spPr>
          <a:xfrm>
            <a:off x="382589" y="6386334"/>
            <a:ext cx="265112" cy="123111"/>
          </a:xfrm>
        </p:spPr>
        <p:txBody>
          <a:bodyPr/>
          <a:lstStyle/>
          <a:p>
            <a:fld id="{A115CDC9-74CB-4F6C-8CD3-A6C89F254EE7}" type="slidenum">
              <a:rPr lang="en-US" smtClean="0"/>
              <a:pPr/>
              <a:t>‹#›</a:t>
            </a:fld>
            <a:endParaRPr lang="en-US" dirty="0"/>
          </a:p>
        </p:txBody>
      </p:sp>
    </p:spTree>
    <p:extLst>
      <p:ext uri="{BB962C8B-B14F-4D97-AF65-F5344CB8AC3E}">
        <p14:creationId xmlns:p14="http://schemas.microsoft.com/office/powerpoint/2010/main" val="4002842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3F9F96-C180-C455-40B8-7073A9EBA07F}"/>
              </a:ext>
            </a:extLst>
          </p:cNvPr>
          <p:cNvGraphicFramePr>
            <a:graphicFrameLocks noChangeAspect="1"/>
          </p:cNvGraphicFramePr>
          <p:nvPr>
            <p:custDataLst>
              <p:tags r:id="rId1"/>
            </p:custDataLst>
            <p:extLst>
              <p:ext uri="{D42A27DB-BD31-4B8C-83A1-F6EECF244321}">
                <p14:modId xmlns:p14="http://schemas.microsoft.com/office/powerpoint/2010/main" val="196832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63F9F96-C180-C455-40B8-7073A9EBA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a:xfrm>
            <a:off x="0" y="2"/>
            <a:ext cx="5032375" cy="5966998"/>
          </a:xfrm>
          <a:solidFill>
            <a:schemeClr val="bg1"/>
          </a:solidFill>
        </p:spPr>
        <p:txBody>
          <a:bodyPr/>
          <a:lstStyle/>
          <a:p>
            <a:r>
              <a:rPr lang="en-US" noProof="0" dirty="0"/>
              <a:t>Add image by clicking on icon and set image in background</a:t>
            </a:r>
            <a:endParaRPr lang="en-GB" noProof="0" dirty="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6192838" y="542123"/>
            <a:ext cx="5618162" cy="283219"/>
          </a:xfrm>
        </p:spPr>
        <p:txBody>
          <a:bodyPr vert="horz"/>
          <a:lstStyle>
            <a:lvl1pPr>
              <a:defRPr/>
            </a:lvl1pPr>
          </a:lstStyle>
          <a:p>
            <a:r>
              <a:rPr lang="en-US" noProof="0"/>
              <a:t>Agenda</a:t>
            </a:r>
            <a:endParaRPr lang="en-US" noProof="0" dirty="0"/>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a:xfrm>
            <a:off x="6192838" y="1539550"/>
            <a:ext cx="5618162" cy="242597"/>
          </a:xfrm>
        </p:spPr>
        <p:txBody>
          <a:bodyPr/>
          <a:lstStyle>
            <a:lvl1pPr marL="719138" indent="-719138">
              <a:buFont typeface="+mj-lt"/>
              <a:buAutoNum type="arabicPeriod"/>
              <a:defRPr>
                <a:latin typeface="+mj-lt"/>
              </a:defRPr>
            </a:lvl1pPr>
          </a:lstStyle>
          <a:p>
            <a:pPr lvl="0"/>
            <a:r>
              <a:rPr lang="en-US" noProof="0"/>
              <a:t>Chapter</a:t>
            </a:r>
            <a:endParaRPr lang="en-US" noProof="0" dirty="0"/>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a:xfrm>
            <a:off x="6192838" y="1782148"/>
            <a:ext cx="5618162" cy="242597"/>
          </a:xfrm>
        </p:spPr>
        <p:txBody>
          <a:bodyPr tIns="36000"/>
          <a:lstStyle>
            <a:lvl1pPr marL="719138" indent="0">
              <a:buNone/>
              <a:defRPr/>
            </a:lvl1pPr>
          </a:lstStyle>
          <a:p>
            <a:pPr lvl="0"/>
            <a:r>
              <a:rPr lang="en-US" noProof="0"/>
              <a:t>Lorem</a:t>
            </a:r>
            <a:endParaRPr lang="en-US" noProof="0" dirty="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a:xfrm>
            <a:off x="6192838" y="2294745"/>
            <a:ext cx="5618162" cy="242597"/>
          </a:xfrm>
        </p:spPr>
        <p:txBody>
          <a:bodyPr/>
          <a:lstStyle>
            <a:lvl1pPr marL="719138" indent="-719138">
              <a:buFont typeface="+mj-lt"/>
              <a:buAutoNum type="arabicPeriod" startAt="2"/>
              <a:defRPr>
                <a:latin typeface="+mj-lt"/>
              </a:defRPr>
            </a:lvl1pPr>
          </a:lstStyle>
          <a:p>
            <a:pPr lvl="0"/>
            <a:r>
              <a:rPr lang="en-US" noProof="0"/>
              <a:t>Chapter</a:t>
            </a:r>
            <a:endParaRPr lang="en-US" noProof="0" dirty="0"/>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a:xfrm>
            <a:off x="6192838" y="2537342"/>
            <a:ext cx="5618162" cy="242597"/>
          </a:xfrm>
        </p:spPr>
        <p:txBody>
          <a:bodyPr tIns="36000"/>
          <a:lstStyle>
            <a:lvl1pPr marL="719138" indent="0">
              <a:buNone/>
              <a:defRPr/>
            </a:lvl1pPr>
          </a:lstStyle>
          <a:p>
            <a:pPr lvl="0"/>
            <a:r>
              <a:rPr lang="en-US" noProof="0"/>
              <a:t>Lorem</a:t>
            </a:r>
            <a:endParaRPr lang="en-US" noProof="0" dirty="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a:xfrm>
            <a:off x="6192838" y="3049939"/>
            <a:ext cx="5618162" cy="242597"/>
          </a:xfrm>
        </p:spPr>
        <p:txBody>
          <a:bodyPr/>
          <a:lstStyle>
            <a:lvl1pPr marL="719138" indent="-719138">
              <a:buFont typeface="+mj-lt"/>
              <a:buAutoNum type="arabicPeriod" startAt="3"/>
              <a:defRPr>
                <a:latin typeface="+mj-lt"/>
              </a:defRPr>
            </a:lvl1pPr>
          </a:lstStyle>
          <a:p>
            <a:pPr lvl="0"/>
            <a:r>
              <a:rPr lang="en-US" noProof="0"/>
              <a:t>Chapter</a:t>
            </a:r>
            <a:endParaRPr lang="en-US" noProof="0" dirty="0"/>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a:xfrm>
            <a:off x="6192838" y="3292536"/>
            <a:ext cx="5618162" cy="242597"/>
          </a:xfrm>
        </p:spPr>
        <p:txBody>
          <a:bodyPr tIns="36000"/>
          <a:lstStyle>
            <a:lvl1pPr marL="719138" indent="0">
              <a:buNone/>
              <a:defRPr/>
            </a:lvl1pPr>
          </a:lstStyle>
          <a:p>
            <a:pPr lvl="0"/>
            <a:r>
              <a:rPr lang="en-US" noProof="0"/>
              <a:t>Lorem</a:t>
            </a:r>
            <a:endParaRPr lang="en-US" noProof="0" dirty="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a:xfrm>
            <a:off x="6192838" y="3805133"/>
            <a:ext cx="5618162" cy="242597"/>
          </a:xfrm>
        </p:spPr>
        <p:txBody>
          <a:bodyPr/>
          <a:lstStyle>
            <a:lvl1pPr marL="719138" indent="-719138">
              <a:buFont typeface="+mj-lt"/>
              <a:buAutoNum type="arabicPeriod" startAt="4"/>
              <a:defRPr>
                <a:latin typeface="+mj-lt"/>
              </a:defRPr>
            </a:lvl1pPr>
          </a:lstStyle>
          <a:p>
            <a:pPr lvl="0"/>
            <a:r>
              <a:rPr lang="en-US" noProof="0"/>
              <a:t>Chapter</a:t>
            </a:r>
            <a:endParaRPr lang="en-US" noProof="0" dirty="0"/>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a:xfrm>
            <a:off x="6192838" y="4047730"/>
            <a:ext cx="5618162" cy="242597"/>
          </a:xfrm>
        </p:spPr>
        <p:txBody>
          <a:bodyPr tIns="36000"/>
          <a:lstStyle>
            <a:lvl1pPr marL="719138" indent="0">
              <a:buNone/>
              <a:defRPr/>
            </a:lvl1pPr>
          </a:lstStyle>
          <a:p>
            <a:pPr lvl="0"/>
            <a:r>
              <a:rPr lang="en-US" noProof="0"/>
              <a:t>Lorem</a:t>
            </a:r>
            <a:endParaRPr lang="en-US" noProof="0" dirty="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a:xfrm>
            <a:off x="6192838" y="4560327"/>
            <a:ext cx="5618162" cy="242597"/>
          </a:xfrm>
        </p:spPr>
        <p:txBody>
          <a:bodyPr/>
          <a:lstStyle>
            <a:lvl1pPr marL="719138" indent="-719138">
              <a:buFont typeface="+mj-lt"/>
              <a:buAutoNum type="arabicPeriod" startAt="5"/>
              <a:defRPr>
                <a:latin typeface="+mj-lt"/>
              </a:defRPr>
            </a:lvl1pPr>
          </a:lstStyle>
          <a:p>
            <a:pPr lvl="0"/>
            <a:r>
              <a:rPr lang="en-US" noProof="0" dirty="0"/>
              <a:t>Chapter</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a:xfrm>
            <a:off x="6192838" y="4802924"/>
            <a:ext cx="5618162" cy="242597"/>
          </a:xfrm>
        </p:spPr>
        <p:txBody>
          <a:bodyPr tIns="36000"/>
          <a:lstStyle>
            <a:lvl1pPr marL="719138" indent="0">
              <a:buNone/>
              <a:defRPr/>
            </a:lvl1pPr>
          </a:lstStyle>
          <a:p>
            <a:pPr lvl="0"/>
            <a:r>
              <a:rPr lang="en-US" noProof="0"/>
              <a:t>Lorem</a:t>
            </a:r>
            <a:endParaRPr lang="en-US" noProof="0" dirty="0"/>
          </a:p>
        </p:txBody>
      </p:sp>
      <p:sp>
        <p:nvSpPr>
          <p:cNvPr id="12" name="Slide Number Placeholder 11">
            <a:extLst>
              <a:ext uri="{FF2B5EF4-FFF2-40B4-BE49-F238E27FC236}">
                <a16:creationId xmlns:a16="http://schemas.microsoft.com/office/drawing/2014/main" id="{EA5E6616-8E56-236F-22CA-EF4AB2CB74AA}"/>
              </a:ext>
            </a:extLst>
          </p:cNvPr>
          <p:cNvSpPr>
            <a:spLocks noGrp="1"/>
          </p:cNvSpPr>
          <p:nvPr>
            <p:ph type="sldNum" sz="quarter" idx="27"/>
          </p:nvPr>
        </p:nvSpPr>
        <p:spPr/>
        <p:txBody>
          <a:bodyPr/>
          <a:lstStyle/>
          <a:p>
            <a:fld id="{A115CDC9-74CB-4F6C-8CD3-A6C89F254EE7}" type="slidenum">
              <a:rPr lang="en-US" noProof="0" smtClean="0"/>
              <a:pPr/>
              <a:t>‹#›</a:t>
            </a:fld>
            <a:endParaRPr lang="en-US" noProof="0" dirty="0"/>
          </a:p>
        </p:txBody>
      </p:sp>
    </p:spTree>
    <p:extLst>
      <p:ext uri="{BB962C8B-B14F-4D97-AF65-F5344CB8AC3E}">
        <p14:creationId xmlns:p14="http://schemas.microsoft.com/office/powerpoint/2010/main" val="15144857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55"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4.png"/><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10" Type="http://schemas.openxmlformats.org/officeDocument/2006/relationships/image" Target="../media/image4.png"/><Relationship Id="rId4" Type="http://schemas.openxmlformats.org/officeDocument/2006/relationships/slideLayout" Target="../slideLayouts/slideLayout60.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3EDDBC-3E49-9D4C-10C3-64B0F863A34B}"/>
              </a:ext>
            </a:extLst>
          </p:cNvPr>
          <p:cNvGraphicFramePr>
            <a:graphicFrameLocks noChangeAspect="1"/>
          </p:cNvGraphicFramePr>
          <p:nvPr>
            <p:custDataLst>
              <p:tags r:id="rId51"/>
            </p:custDataLst>
            <p:extLst>
              <p:ext uri="{D42A27DB-BD31-4B8C-83A1-F6EECF244321}">
                <p14:modId xmlns:p14="http://schemas.microsoft.com/office/powerpoint/2010/main" val="94021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2" imgW="592" imgH="591" progId="TCLayout.ActiveDocument.1">
                  <p:embed/>
                </p:oleObj>
              </mc:Choice>
              <mc:Fallback>
                <p:oleObj name="think-cell Folie" r:id="rId52" imgW="592" imgH="591" progId="TCLayout.ActiveDocument.1">
                  <p:embed/>
                  <p:pic>
                    <p:nvPicPr>
                      <p:cNvPr id="9" name="Object 8" hidden="1">
                        <a:extLst>
                          <a:ext uri="{FF2B5EF4-FFF2-40B4-BE49-F238E27FC236}">
                            <a16:creationId xmlns:a16="http://schemas.microsoft.com/office/drawing/2014/main" id="{763EDDBC-3E49-9D4C-10C3-64B0F863A34B}"/>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229F5F4-65F8-05C9-D707-21C87250AFB2}"/>
              </a:ext>
            </a:extLst>
          </p:cNvPr>
          <p:cNvSpPr>
            <a:spLocks noGrp="1"/>
          </p:cNvSpPr>
          <p:nvPr>
            <p:ph type="title"/>
          </p:nvPr>
        </p:nvSpPr>
        <p:spPr>
          <a:xfrm>
            <a:off x="386459" y="545005"/>
            <a:ext cx="11419082" cy="283219"/>
          </a:xfrm>
          <a:prstGeom prst="rect">
            <a:avLst/>
          </a:prstGeom>
        </p:spPr>
        <p:txBody>
          <a:bodyPr vert="horz" lIns="0" tIns="0" rIns="0" bIns="0" rtlCol="0" anchor="t">
            <a:spAutoFit/>
          </a:bodyPr>
          <a:lstStyle/>
          <a:p>
            <a:r>
              <a:rPr lang="en-GB" noProof="0" dirty="0"/>
              <a:t>Slide heading</a:t>
            </a:r>
          </a:p>
        </p:txBody>
      </p:sp>
      <p:sp>
        <p:nvSpPr>
          <p:cNvPr id="3" name="Textplatzhalter 2">
            <a:extLst>
              <a:ext uri="{FF2B5EF4-FFF2-40B4-BE49-F238E27FC236}">
                <a16:creationId xmlns:a16="http://schemas.microsoft.com/office/drawing/2014/main" id="{5E543CC5-8CA8-AB9E-3736-0EC6C5535D42}"/>
              </a:ext>
            </a:extLst>
          </p:cNvPr>
          <p:cNvSpPr>
            <a:spLocks noGrp="1"/>
          </p:cNvSpPr>
          <p:nvPr>
            <p:ph type="body" idx="1"/>
          </p:nvPr>
        </p:nvSpPr>
        <p:spPr>
          <a:xfrm>
            <a:off x="382589" y="1314450"/>
            <a:ext cx="11422952" cy="4600575"/>
          </a:xfrm>
          <a:prstGeom prst="rect">
            <a:avLst/>
          </a:prstGeom>
        </p:spPr>
        <p:txBody>
          <a:bodyPr vert="horz" lIns="0" tIns="0" rIns="0" bIns="0" rtlCol="0">
            <a:noAutofit/>
          </a:bodyPr>
          <a:lstStyle/>
          <a:p>
            <a:pPr lvl="0"/>
            <a:r>
              <a:rPr lang="en-GB" noProof="0" dirty="0"/>
              <a:t>14 </a:t>
            </a:r>
            <a:r>
              <a:rPr lang="en-GB" noProof="0" dirty="0" err="1"/>
              <a:t>pt</a:t>
            </a:r>
            <a:r>
              <a:rPr lang="en-GB" noProof="0" dirty="0"/>
              <a:t>, edit master text format</a:t>
            </a:r>
          </a:p>
          <a:p>
            <a:pPr lvl="1"/>
            <a:r>
              <a:rPr lang="en-GB" noProof="0" dirty="0"/>
              <a:t>Second level</a:t>
            </a:r>
          </a:p>
          <a:p>
            <a:pPr lvl="2"/>
            <a:r>
              <a:rPr lang="en-GB" noProof="0" dirty="0"/>
              <a:t>Third level</a:t>
            </a:r>
          </a:p>
          <a:p>
            <a:pPr lvl="3"/>
            <a:r>
              <a:rPr lang="en-GB" noProof="0" dirty="0"/>
              <a:t>Fourth level </a:t>
            </a:r>
          </a:p>
          <a:p>
            <a:pPr lvl="4"/>
            <a:r>
              <a:rPr lang="en-GB" noProof="0" dirty="0"/>
              <a:t>Fifth level</a:t>
            </a:r>
          </a:p>
          <a:p>
            <a:pPr lvl="0"/>
            <a:r>
              <a:rPr lang="en-GB" sz="1400" noProof="0" dirty="0"/>
              <a:t>Sixth level</a:t>
            </a:r>
            <a:endParaRPr lang="en-GB" noProof="0" dirty="0"/>
          </a:p>
        </p:txBody>
      </p:sp>
      <p:sp>
        <p:nvSpPr>
          <p:cNvPr id="11" name="Slide Number Placeholder 10">
            <a:extLst>
              <a:ext uri="{FF2B5EF4-FFF2-40B4-BE49-F238E27FC236}">
                <a16:creationId xmlns:a16="http://schemas.microsoft.com/office/drawing/2014/main" id="{0E1B39B4-8D0F-C71D-EC1A-84E62CA2223E}"/>
              </a:ext>
            </a:extLst>
          </p:cNvPr>
          <p:cNvSpPr>
            <a:spLocks noGrp="1"/>
          </p:cNvSpPr>
          <p:nvPr>
            <p:ph type="sldNum" sz="quarter" idx="4"/>
          </p:nvPr>
        </p:nvSpPr>
        <p:spPr>
          <a:xfrm>
            <a:off x="382589" y="6386334"/>
            <a:ext cx="265112" cy="123111"/>
          </a:xfrm>
          <a:prstGeom prst="rect">
            <a:avLst/>
          </a:prstGeom>
        </p:spPr>
        <p:txBody>
          <a:bodyPr vert="horz" lIns="0" tIns="0" rIns="0" bIns="0" rtlCol="0" anchor="t" anchorCtr="0"/>
          <a:lstStyle>
            <a:lvl1pPr algn="l">
              <a:defRPr sz="800">
                <a:solidFill>
                  <a:schemeClr val="tx2"/>
                </a:solidFill>
                <a:latin typeface="Lexend" pitchFamily="2" charset="0"/>
              </a:defRPr>
            </a:lvl1pPr>
          </a:lstStyle>
          <a:p>
            <a:fld id="{A115CDC9-74CB-4F6C-8CD3-A6C89F254EE7}" type="slidenum">
              <a:rPr lang="en-US" smtClean="0"/>
              <a:pPr/>
              <a:t>‹#›</a:t>
            </a:fld>
            <a:endParaRPr lang="en-US" dirty="0"/>
          </a:p>
        </p:txBody>
      </p:sp>
      <p:sp>
        <p:nvSpPr>
          <p:cNvPr id="8" name="Bildplatzhalter 19">
            <a:extLst>
              <a:ext uri="{FF2B5EF4-FFF2-40B4-BE49-F238E27FC236}">
                <a16:creationId xmlns:a16="http://schemas.microsoft.com/office/drawing/2014/main" id="{F8F0FEB4-B109-4FB3-8B25-A3D54DD6D94F}"/>
              </a:ext>
            </a:extLst>
          </p:cNvPr>
          <p:cNvSpPr txBox="1">
            <a:spLocks/>
          </p:cNvSpPr>
          <p:nvPr userDrawn="1"/>
        </p:nvSpPr>
        <p:spPr bwMode="gray">
          <a:xfrm>
            <a:off x="1025514" y="6410506"/>
            <a:ext cx="1062384" cy="103295"/>
          </a:xfrm>
          <a:prstGeom prst="rect">
            <a:avLst/>
          </a:prstGeom>
          <a:blipFill>
            <a:blip r:embed="rId54" cstate="hqprint">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Text Placeholder 7">
            <a:extLst>
              <a:ext uri="{FF2B5EF4-FFF2-40B4-BE49-F238E27FC236}">
                <a16:creationId xmlns:a16="http://schemas.microsoft.com/office/drawing/2014/main" id="{F278A42B-A130-43EF-A9AD-0DF7047D491B}"/>
              </a:ext>
            </a:extLst>
          </p:cNvPr>
          <p:cNvSpPr txBox="1">
            <a:spLocks noChangeAspect="1"/>
          </p:cNvSpPr>
          <p:nvPr userDrawn="1"/>
        </p:nvSpPr>
        <p:spPr>
          <a:xfrm>
            <a:off x="11523000" y="6201700"/>
            <a:ext cx="288000" cy="288000"/>
          </a:xfrm>
          <a:prstGeom prst="rect">
            <a:avLst/>
          </a:prstGeom>
          <a:blipFill>
            <a:blip r:embed="rId55"/>
            <a:stretch>
              <a:fillRect/>
            </a:stretch>
          </a:blipFill>
        </p:spPr>
        <p:txBody>
          <a:bodyPr/>
          <a:lstStyle>
            <a:lvl1pPr marL="0" indent="0" algn="l" defTabSz="914400" rtl="0" eaLnBrk="1" latinLnBrk="0" hangingPunct="1">
              <a:lnSpc>
                <a:spcPct val="120000"/>
              </a:lnSpc>
              <a:spcBef>
                <a:spcPts val="1000"/>
              </a:spcBef>
              <a:buFontTx/>
              <a:buNone/>
              <a:defRPr sz="1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 </a:t>
            </a:r>
            <a:endParaRPr lang="en-US" dirty="0"/>
          </a:p>
        </p:txBody>
      </p:sp>
      <p:pic>
        <p:nvPicPr>
          <p:cNvPr id="12" name="Picture 11">
            <a:extLst>
              <a:ext uri="{FF2B5EF4-FFF2-40B4-BE49-F238E27FC236}">
                <a16:creationId xmlns:a16="http://schemas.microsoft.com/office/drawing/2014/main" id="{871BACD1-6F51-4B62-B1BA-083C255975B2}"/>
              </a:ext>
              <a:ext uri="{C183D7F6-B498-43B3-948B-1728B52AA6E4}">
                <adec:decorative xmlns:adec="http://schemas.microsoft.com/office/drawing/2017/decorative" val="1"/>
              </a:ext>
            </a:extLst>
          </p:cNvPr>
          <p:cNvPicPr>
            <a:picLocks noChangeAspect="1"/>
          </p:cNvPicPr>
          <p:nvPr userDrawn="1"/>
        </p:nvPicPr>
        <p:blipFill>
          <a:blip r:embed="rId56"/>
          <a:stretch>
            <a:fillRect/>
          </a:stretch>
        </p:blipFill>
        <p:spPr>
          <a:xfrm>
            <a:off x="9873516" y="6055127"/>
            <a:ext cx="1132513" cy="662413"/>
          </a:xfrm>
          <a:prstGeom prst="rect">
            <a:avLst/>
          </a:prstGeom>
        </p:spPr>
      </p:pic>
    </p:spTree>
    <p:extLst>
      <p:ext uri="{BB962C8B-B14F-4D97-AF65-F5344CB8AC3E}">
        <p14:creationId xmlns:p14="http://schemas.microsoft.com/office/powerpoint/2010/main" val="2160077658"/>
      </p:ext>
    </p:extLst>
  </p:cSld>
  <p:clrMap bg1="lt1" tx1="dk1" bg2="lt2" tx2="dk2" accent1="accent1" accent2="accent2" accent3="accent3" accent4="accent4" accent5="accent5" accent6="accent6" hlink="hlink" folHlink="folHlink"/>
  <p:sldLayoutIdLst>
    <p:sldLayoutId id="2147483711" r:id="rId1"/>
    <p:sldLayoutId id="2147483681" r:id="rId2"/>
    <p:sldLayoutId id="2147483696" r:id="rId3"/>
    <p:sldLayoutId id="2147483660" r:id="rId4"/>
    <p:sldLayoutId id="2147483697" r:id="rId5"/>
    <p:sldLayoutId id="2147483698" r:id="rId6"/>
    <p:sldLayoutId id="2147483699" r:id="rId7"/>
    <p:sldLayoutId id="2147483685" r:id="rId8"/>
    <p:sldLayoutId id="2147483686" r:id="rId9"/>
    <p:sldLayoutId id="2147483687" r:id="rId10"/>
    <p:sldLayoutId id="2147483688" r:id="rId11"/>
    <p:sldLayoutId id="2147483690" r:id="rId12"/>
    <p:sldLayoutId id="2147483689" r:id="rId13"/>
    <p:sldLayoutId id="2147483674" r:id="rId14"/>
    <p:sldLayoutId id="2147483675" r:id="rId15"/>
    <p:sldLayoutId id="2147483676" r:id="rId16"/>
    <p:sldLayoutId id="2147483677" r:id="rId17"/>
    <p:sldLayoutId id="2147483678" r:id="rId18"/>
    <p:sldLayoutId id="2147483679" r:id="rId19"/>
    <p:sldLayoutId id="2147483670" r:id="rId20"/>
    <p:sldLayoutId id="2147483671" r:id="rId21"/>
    <p:sldLayoutId id="2147483672" r:id="rId22"/>
    <p:sldLayoutId id="2147483710" r:id="rId23"/>
    <p:sldLayoutId id="2147483650" r:id="rId24"/>
    <p:sldLayoutId id="2147483661" r:id="rId25"/>
    <p:sldLayoutId id="2147483662" r:id="rId26"/>
    <p:sldLayoutId id="2147483663" r:id="rId27"/>
    <p:sldLayoutId id="2147483666" r:id="rId28"/>
    <p:sldLayoutId id="2147483667" r:id="rId29"/>
    <p:sldLayoutId id="2147483703" r:id="rId30"/>
    <p:sldLayoutId id="2147483704" r:id="rId31"/>
    <p:sldLayoutId id="2147483705" r:id="rId32"/>
    <p:sldLayoutId id="2147483706" r:id="rId33"/>
    <p:sldLayoutId id="2147483691" r:id="rId34"/>
    <p:sldLayoutId id="2147483694" r:id="rId35"/>
    <p:sldLayoutId id="2147483709" r:id="rId36"/>
    <p:sldLayoutId id="2147483712" r:id="rId37"/>
    <p:sldLayoutId id="2147483693" r:id="rId38"/>
    <p:sldLayoutId id="2147483700" r:id="rId39"/>
    <p:sldLayoutId id="2147483701" r:id="rId40"/>
    <p:sldLayoutId id="2147483695" r:id="rId41"/>
    <p:sldLayoutId id="2147483692" r:id="rId42"/>
    <p:sldLayoutId id="2147483707" r:id="rId43"/>
    <p:sldLayoutId id="2147483708" r:id="rId44"/>
    <p:sldLayoutId id="2147483716" r:id="rId45"/>
    <p:sldLayoutId id="2147483718" r:id="rId46"/>
    <p:sldLayoutId id="2147483719" r:id="rId47"/>
    <p:sldLayoutId id="2147483720" r:id="rId48"/>
    <p:sldLayoutId id="2147483721" r:id="rId49"/>
  </p:sldLayoutIdLst>
  <p:hf sldNum="0" hdr="0"/>
  <p:txStyles>
    <p:titleStyle>
      <a:lvl1pPr algn="l" defTabSz="914400" rtl="0" eaLnBrk="1" latinLnBrk="0" hangingPunct="1">
        <a:lnSpc>
          <a:spcPct val="90000"/>
        </a:lnSpc>
        <a:spcBef>
          <a:spcPct val="0"/>
        </a:spcBef>
        <a:buNone/>
        <a:defRPr sz="2000" b="0"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userDrawn="1">
          <p15:clr>
            <a:srgbClr val="F26B43"/>
          </p15:clr>
        </p15:guide>
        <p15:guide id="2" pos="1336" userDrawn="1">
          <p15:clr>
            <a:srgbClr val="F26B43"/>
          </p15:clr>
        </p15:guide>
        <p15:guide id="3" pos="1459" userDrawn="1">
          <p15:clr>
            <a:srgbClr val="F26B43"/>
          </p15:clr>
        </p15:guide>
        <p15:guide id="4" pos="2559" userDrawn="1">
          <p15:clr>
            <a:srgbClr val="F26B43"/>
          </p15:clr>
        </p15:guide>
        <p15:guide id="5" pos="2684" userDrawn="1">
          <p15:clr>
            <a:srgbClr val="F26B43"/>
          </p15:clr>
        </p15:guide>
        <p15:guide id="6" pos="3777" userDrawn="1">
          <p15:clr>
            <a:srgbClr val="F26B43"/>
          </p15:clr>
        </p15:guide>
        <p15:guide id="7" pos="3901" userDrawn="1">
          <p15:clr>
            <a:srgbClr val="F26B43"/>
          </p15:clr>
        </p15:guide>
        <p15:guide id="8" pos="5000" userDrawn="1">
          <p15:clr>
            <a:srgbClr val="F26B43"/>
          </p15:clr>
        </p15:guide>
        <p15:guide id="9" pos="5125" userDrawn="1">
          <p15:clr>
            <a:srgbClr val="F26B43"/>
          </p15:clr>
        </p15:guide>
        <p15:guide id="10" pos="6217" userDrawn="1">
          <p15:clr>
            <a:srgbClr val="F26B43"/>
          </p15:clr>
        </p15:guide>
        <p15:guide id="11" pos="6342" userDrawn="1">
          <p15:clr>
            <a:srgbClr val="F26B43"/>
          </p15:clr>
        </p15:guide>
        <p15:guide id="12" pos="7440" userDrawn="1">
          <p15:clr>
            <a:srgbClr val="F26B43"/>
          </p15:clr>
        </p15:guide>
        <p15:guide id="13" orient="horz" pos="234" userDrawn="1">
          <p15:clr>
            <a:srgbClr val="F26B43"/>
          </p15:clr>
        </p15:guide>
        <p15:guide id="14" orient="horz" pos="471" userDrawn="1">
          <p15:clr>
            <a:srgbClr val="F26B43"/>
          </p15:clr>
        </p15:guide>
        <p15:guide id="15" orient="horz" pos="3604" userDrawn="1">
          <p15:clr>
            <a:srgbClr val="F26B43"/>
          </p15:clr>
        </p15:guide>
        <p15:guide id="16" orient="horz" pos="3842" userDrawn="1">
          <p15:clr>
            <a:srgbClr val="F26B43"/>
          </p15:clr>
        </p15:guide>
        <p15:guide id="17" orient="horz" pos="4088" userDrawn="1">
          <p15:clr>
            <a:srgbClr val="F26B43"/>
          </p15:clr>
        </p15:guide>
        <p15:guide id="18" orient="horz" pos="958" userDrawn="1">
          <p15:clr>
            <a:srgbClr val="F26B43"/>
          </p15:clr>
        </p15:guide>
        <p15:guide id="19" pos="722" userDrawn="1">
          <p15:clr>
            <a:srgbClr val="F26B43"/>
          </p15:clr>
        </p15:guide>
        <p15:guide id="20" pos="3165" userDrawn="1">
          <p15:clr>
            <a:srgbClr val="F26B43"/>
          </p15:clr>
        </p15:guide>
        <p15:guide id="21" pos="855" userDrawn="1">
          <p15:clr>
            <a:srgbClr val="F26B43"/>
          </p15:clr>
        </p15:guide>
        <p15:guide id="22" pos="1943" userDrawn="1">
          <p15:clr>
            <a:srgbClr val="F26B43"/>
          </p15:clr>
        </p15:guide>
        <p15:guide id="23" pos="2076" userDrawn="1">
          <p15:clr>
            <a:srgbClr val="F26B43"/>
          </p15:clr>
        </p15:guide>
        <p15:guide id="24" pos="3291" userDrawn="1">
          <p15:clr>
            <a:srgbClr val="F26B43"/>
          </p15:clr>
        </p15:guide>
        <p15:guide id="25" pos="4380" userDrawn="1">
          <p15:clr>
            <a:srgbClr val="F26B43"/>
          </p15:clr>
        </p15:guide>
        <p15:guide id="26" pos="4513" userDrawn="1">
          <p15:clr>
            <a:srgbClr val="F26B43"/>
          </p15:clr>
        </p15:guide>
        <p15:guide id="27" pos="5602" userDrawn="1">
          <p15:clr>
            <a:srgbClr val="F26B43"/>
          </p15:clr>
        </p15:guide>
        <p15:guide id="28" pos="5735" userDrawn="1">
          <p15:clr>
            <a:srgbClr val="F26B43"/>
          </p15:clr>
        </p15:guide>
        <p15:guide id="29" orient="horz" pos="2160" userDrawn="1">
          <p15:clr>
            <a:srgbClr val="F26B43"/>
          </p15:clr>
        </p15:guide>
        <p15:guide id="30" orient="horz" pos="731" userDrawn="1">
          <p15:clr>
            <a:srgbClr val="F26B43"/>
          </p15:clr>
        </p15:guide>
        <p15:guide id="31" orient="horz" pos="1207" userDrawn="1">
          <p15:clr>
            <a:srgbClr val="F26B43"/>
          </p15:clr>
        </p15:guide>
        <p15:guide id="32" orient="horz" pos="1684" userDrawn="1">
          <p15:clr>
            <a:srgbClr val="F26B43"/>
          </p15:clr>
        </p15:guide>
        <p15:guide id="33" orient="horz" pos="2659" userDrawn="1">
          <p15:clr>
            <a:srgbClr val="F26B43"/>
          </p15:clr>
        </p15:guide>
        <p15:guide id="34" orient="horz" pos="3135" userDrawn="1">
          <p15:clr>
            <a:srgbClr val="F26B43"/>
          </p15:clr>
        </p15:guide>
        <p15:guide id="35" pos="6823" userDrawn="1">
          <p15:clr>
            <a:srgbClr val="F26B43"/>
          </p15:clr>
        </p15:guide>
        <p15:guide id="36" pos="695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chemeClr val="accent2"/>
            </a:gs>
            <a:gs pos="100000">
              <a:schemeClr val="accent1"/>
            </a:gs>
          </a:gsLst>
          <a:lin ang="0"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09600" y="-133"/>
            <a:ext cx="7315200" cy="2419200"/>
          </a:xfrm>
          <a:prstGeom prst="rect">
            <a:avLst/>
          </a:prstGeom>
          <a:noFill/>
          <a:ln>
            <a:noFill/>
          </a:ln>
          <a:effectLst>
            <a:outerShdw blurRad="28575" dist="9525" dir="5400000" algn="bl" rotWithShape="0">
              <a:srgbClr val="00001A">
                <a:alpha val="15000"/>
              </a:srgbClr>
            </a:outerShdw>
          </a:effectLst>
        </p:spPr>
        <p:txBody>
          <a:bodyPr spcFirstLastPara="1" wrap="square" lIns="0" tIns="0" rIns="0" bIns="0" anchor="ctr" anchorCtr="0">
            <a:noAutofit/>
          </a:bodyPr>
          <a:lstStyle>
            <a:lvl1pPr lvl="0">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1pPr>
            <a:lvl2pPr lvl="1">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2pPr>
            <a:lvl3pPr lvl="2">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3pPr>
            <a:lvl4pPr lvl="3">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4pPr>
            <a:lvl5pPr lvl="4">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5pPr>
            <a:lvl6pPr lvl="5">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6pPr>
            <a:lvl7pPr lvl="6">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7pPr>
            <a:lvl8pPr lvl="7">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8pPr>
            <a:lvl9pPr lvl="8">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9pPr>
          </a:lstStyle>
          <a:p>
            <a:endParaRPr/>
          </a:p>
        </p:txBody>
      </p:sp>
      <p:sp>
        <p:nvSpPr>
          <p:cNvPr id="7" name="Google Shape;7;p1"/>
          <p:cNvSpPr txBox="1">
            <a:spLocks noGrp="1"/>
          </p:cNvSpPr>
          <p:nvPr>
            <p:ph type="body" idx="1"/>
          </p:nvPr>
        </p:nvSpPr>
        <p:spPr>
          <a:xfrm>
            <a:off x="4267200" y="2545733"/>
            <a:ext cx="7315200" cy="3686400"/>
          </a:xfrm>
          <a:prstGeom prst="rect">
            <a:avLst/>
          </a:prstGeom>
          <a:noFill/>
          <a:ln>
            <a:noFill/>
          </a:ln>
        </p:spPr>
        <p:txBody>
          <a:bodyPr spcFirstLastPara="1" wrap="square" lIns="0" tIns="0" rIns="0" bIns="0" anchor="t" anchorCtr="0">
            <a:noAutofit/>
          </a:bodyPr>
          <a:lstStyle>
            <a:lvl1pPr marL="457200" lvl="0" indent="-381000">
              <a:lnSpc>
                <a:spcPct val="115000"/>
              </a:lnSpc>
              <a:spcBef>
                <a:spcPts val="600"/>
              </a:spcBef>
              <a:spcAft>
                <a:spcPts val="0"/>
              </a:spcAft>
              <a:buClr>
                <a:schemeClr val="accent1"/>
              </a:buClr>
              <a:buSzPts val="2400"/>
              <a:buFont typeface="Chivo"/>
              <a:buChar char="▰"/>
              <a:defRPr sz="2400">
                <a:solidFill>
                  <a:schemeClr val="dk1"/>
                </a:solidFill>
                <a:latin typeface="Chivo"/>
                <a:ea typeface="Chivo"/>
                <a:cs typeface="Chivo"/>
                <a:sym typeface="Chivo"/>
              </a:defRPr>
            </a:lvl1pPr>
            <a:lvl2pPr marL="914400" lvl="1" indent="-381000">
              <a:lnSpc>
                <a:spcPct val="115000"/>
              </a:lnSpc>
              <a:spcBef>
                <a:spcPts val="0"/>
              </a:spcBef>
              <a:spcAft>
                <a:spcPts val="0"/>
              </a:spcAft>
              <a:buClr>
                <a:schemeClr val="accent5"/>
              </a:buClr>
              <a:buSzPts val="2400"/>
              <a:buFont typeface="Chivo"/>
              <a:buChar char="▰"/>
              <a:defRPr sz="2400">
                <a:solidFill>
                  <a:schemeClr val="dk1"/>
                </a:solidFill>
                <a:latin typeface="Chivo"/>
                <a:ea typeface="Chivo"/>
                <a:cs typeface="Chivo"/>
                <a:sym typeface="Chivo"/>
              </a:defRPr>
            </a:lvl2pPr>
            <a:lvl3pPr marL="1371600" lvl="2" indent="-381000">
              <a:lnSpc>
                <a:spcPct val="115000"/>
              </a:lnSpc>
              <a:spcBef>
                <a:spcPts val="0"/>
              </a:spcBef>
              <a:spcAft>
                <a:spcPts val="0"/>
              </a:spcAft>
              <a:buClr>
                <a:schemeClr val="accent5"/>
              </a:buClr>
              <a:buSzPts val="2400"/>
              <a:buFont typeface="Chivo"/>
              <a:buChar char="▰"/>
              <a:defRPr sz="2400">
                <a:solidFill>
                  <a:schemeClr val="dk1"/>
                </a:solidFill>
                <a:latin typeface="Chivo"/>
                <a:ea typeface="Chivo"/>
                <a:cs typeface="Chivo"/>
                <a:sym typeface="Chivo"/>
              </a:defRPr>
            </a:lvl3pPr>
            <a:lvl4pPr marL="1828800" lvl="3"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4pPr>
            <a:lvl5pPr marL="2286000" lvl="4"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5pPr>
            <a:lvl6pPr marL="2743200" lvl="5"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6pPr>
            <a:lvl7pPr marL="3200400" lvl="6"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7pPr>
            <a:lvl8pPr marL="3657600" lvl="7"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8pPr>
            <a:lvl9pPr marL="4114800" lvl="8"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9pPr>
          </a:lstStyle>
          <a:p>
            <a:endParaRPr/>
          </a:p>
        </p:txBody>
      </p:sp>
      <p:pic>
        <p:nvPicPr>
          <p:cNvPr id="3" name="Picture 2" descr="Logo, company name&#10;&#10;Description automatically generated">
            <a:extLst>
              <a:ext uri="{FF2B5EF4-FFF2-40B4-BE49-F238E27FC236}">
                <a16:creationId xmlns:a16="http://schemas.microsoft.com/office/drawing/2014/main" id="{591DA596-EDC3-A8C1-3F2A-EB12E46E2D25}"/>
              </a:ext>
            </a:extLst>
          </p:cNvPr>
          <p:cNvPicPr>
            <a:picLocks noChangeAspect="1"/>
          </p:cNvPicPr>
          <p:nvPr userDrawn="1"/>
        </p:nvPicPr>
        <p:blipFill>
          <a:blip r:embed="rId9"/>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1866630877"/>
      </p:ext>
    </p:extLst>
  </p:cSld>
  <p:clrMap bg1="lt1" tx1="dk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Franklin Gothic Medium" panose="020B0603020102020204" pitchFamily="34" charset="0"/>
          <a:ea typeface="Franklin Gothic Medium" panose="020B0603020102020204" pitchFamily="34"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a:gsLst>
            <a:gs pos="0">
              <a:schemeClr val="accent2"/>
            </a:gs>
            <a:gs pos="100000">
              <a:schemeClr val="accent1"/>
            </a:gs>
          </a:gsLst>
          <a:lin ang="0"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09600" y="-133"/>
            <a:ext cx="7315200" cy="2419200"/>
          </a:xfrm>
          <a:prstGeom prst="rect">
            <a:avLst/>
          </a:prstGeom>
          <a:noFill/>
          <a:ln>
            <a:noFill/>
          </a:ln>
          <a:effectLst>
            <a:outerShdw blurRad="28575" dist="9525" dir="5400000" algn="bl" rotWithShape="0">
              <a:srgbClr val="00001A">
                <a:alpha val="15000"/>
              </a:srgbClr>
            </a:outerShdw>
          </a:effectLst>
        </p:spPr>
        <p:txBody>
          <a:bodyPr spcFirstLastPara="1" wrap="square" lIns="0" tIns="0" rIns="0" bIns="0" anchor="ctr" anchorCtr="0">
            <a:noAutofit/>
          </a:bodyPr>
          <a:lstStyle>
            <a:lvl1pPr lvl="0">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1pPr>
            <a:lvl2pPr lvl="1">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2pPr>
            <a:lvl3pPr lvl="2">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3pPr>
            <a:lvl4pPr lvl="3">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4pPr>
            <a:lvl5pPr lvl="4">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5pPr>
            <a:lvl6pPr lvl="5">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6pPr>
            <a:lvl7pPr lvl="6">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7pPr>
            <a:lvl8pPr lvl="7">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8pPr>
            <a:lvl9pPr lvl="8">
              <a:lnSpc>
                <a:spcPct val="90000"/>
              </a:lnSpc>
              <a:spcBef>
                <a:spcPts val="0"/>
              </a:spcBef>
              <a:spcAft>
                <a:spcPts val="0"/>
              </a:spcAft>
              <a:buClr>
                <a:schemeClr val="lt1"/>
              </a:buClr>
              <a:buSzPts val="3200"/>
              <a:buFont typeface="Roboto Slab"/>
              <a:buNone/>
              <a:defRPr sz="3200" b="1">
                <a:solidFill>
                  <a:schemeClr val="lt1"/>
                </a:solidFill>
                <a:latin typeface="Roboto Slab"/>
                <a:ea typeface="Roboto Slab"/>
                <a:cs typeface="Roboto Slab"/>
                <a:sym typeface="Roboto Slab"/>
              </a:defRPr>
            </a:lvl9pPr>
          </a:lstStyle>
          <a:p>
            <a:endParaRPr/>
          </a:p>
        </p:txBody>
      </p:sp>
      <p:sp>
        <p:nvSpPr>
          <p:cNvPr id="7" name="Google Shape;7;p1"/>
          <p:cNvSpPr txBox="1">
            <a:spLocks noGrp="1"/>
          </p:cNvSpPr>
          <p:nvPr>
            <p:ph type="body" idx="1"/>
          </p:nvPr>
        </p:nvSpPr>
        <p:spPr>
          <a:xfrm>
            <a:off x="4267200" y="2545733"/>
            <a:ext cx="7315200" cy="3686400"/>
          </a:xfrm>
          <a:prstGeom prst="rect">
            <a:avLst/>
          </a:prstGeom>
          <a:noFill/>
          <a:ln>
            <a:noFill/>
          </a:ln>
        </p:spPr>
        <p:txBody>
          <a:bodyPr spcFirstLastPara="1" wrap="square" lIns="0" tIns="0" rIns="0" bIns="0" anchor="t" anchorCtr="0">
            <a:noAutofit/>
          </a:bodyPr>
          <a:lstStyle>
            <a:lvl1pPr marL="457200" lvl="0" indent="-381000">
              <a:lnSpc>
                <a:spcPct val="115000"/>
              </a:lnSpc>
              <a:spcBef>
                <a:spcPts val="600"/>
              </a:spcBef>
              <a:spcAft>
                <a:spcPts val="0"/>
              </a:spcAft>
              <a:buClr>
                <a:schemeClr val="accent1"/>
              </a:buClr>
              <a:buSzPts val="2400"/>
              <a:buFont typeface="Chivo"/>
              <a:buChar char="▰"/>
              <a:defRPr sz="2400">
                <a:solidFill>
                  <a:schemeClr val="dk1"/>
                </a:solidFill>
                <a:latin typeface="Chivo"/>
                <a:ea typeface="Chivo"/>
                <a:cs typeface="Chivo"/>
                <a:sym typeface="Chivo"/>
              </a:defRPr>
            </a:lvl1pPr>
            <a:lvl2pPr marL="914400" lvl="1" indent="-381000">
              <a:lnSpc>
                <a:spcPct val="115000"/>
              </a:lnSpc>
              <a:spcBef>
                <a:spcPts val="0"/>
              </a:spcBef>
              <a:spcAft>
                <a:spcPts val="0"/>
              </a:spcAft>
              <a:buClr>
                <a:schemeClr val="accent5"/>
              </a:buClr>
              <a:buSzPts val="2400"/>
              <a:buFont typeface="Chivo"/>
              <a:buChar char="▰"/>
              <a:defRPr sz="2400">
                <a:solidFill>
                  <a:schemeClr val="dk1"/>
                </a:solidFill>
                <a:latin typeface="Chivo"/>
                <a:ea typeface="Chivo"/>
                <a:cs typeface="Chivo"/>
                <a:sym typeface="Chivo"/>
              </a:defRPr>
            </a:lvl2pPr>
            <a:lvl3pPr marL="1371600" lvl="2" indent="-381000">
              <a:lnSpc>
                <a:spcPct val="115000"/>
              </a:lnSpc>
              <a:spcBef>
                <a:spcPts val="0"/>
              </a:spcBef>
              <a:spcAft>
                <a:spcPts val="0"/>
              </a:spcAft>
              <a:buClr>
                <a:schemeClr val="accent5"/>
              </a:buClr>
              <a:buSzPts val="2400"/>
              <a:buFont typeface="Chivo"/>
              <a:buChar char="▰"/>
              <a:defRPr sz="2400">
                <a:solidFill>
                  <a:schemeClr val="dk1"/>
                </a:solidFill>
                <a:latin typeface="Chivo"/>
                <a:ea typeface="Chivo"/>
                <a:cs typeface="Chivo"/>
                <a:sym typeface="Chivo"/>
              </a:defRPr>
            </a:lvl3pPr>
            <a:lvl4pPr marL="1828800" lvl="3"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4pPr>
            <a:lvl5pPr marL="2286000" lvl="4"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5pPr>
            <a:lvl6pPr marL="2743200" lvl="5"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6pPr>
            <a:lvl7pPr marL="3200400" lvl="6"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7pPr>
            <a:lvl8pPr marL="3657600" lvl="7"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8pPr>
            <a:lvl9pPr marL="4114800" lvl="8" indent="-381000">
              <a:lnSpc>
                <a:spcPct val="115000"/>
              </a:lnSpc>
              <a:spcBef>
                <a:spcPts val="0"/>
              </a:spcBef>
              <a:spcAft>
                <a:spcPts val="0"/>
              </a:spcAft>
              <a:buClr>
                <a:schemeClr val="dk1"/>
              </a:buClr>
              <a:buSzPts val="2400"/>
              <a:buFont typeface="Chivo"/>
              <a:buChar char="▰"/>
              <a:defRPr sz="2400">
                <a:solidFill>
                  <a:schemeClr val="dk1"/>
                </a:solidFill>
                <a:latin typeface="Chivo"/>
                <a:ea typeface="Chivo"/>
                <a:cs typeface="Chivo"/>
                <a:sym typeface="Chivo"/>
              </a:defRPr>
            </a:lvl9pPr>
          </a:lstStyle>
          <a:p>
            <a:endParaRPr/>
          </a:p>
        </p:txBody>
      </p:sp>
      <p:pic>
        <p:nvPicPr>
          <p:cNvPr id="3" name="Picture 2" descr="Logo, company name&#10;&#10;Description automatically generated">
            <a:extLst>
              <a:ext uri="{FF2B5EF4-FFF2-40B4-BE49-F238E27FC236}">
                <a16:creationId xmlns:a16="http://schemas.microsoft.com/office/drawing/2014/main" id="{591DA596-EDC3-A8C1-3F2A-EB12E46E2D25}"/>
              </a:ext>
            </a:extLst>
          </p:cNvPr>
          <p:cNvPicPr>
            <a:picLocks noChangeAspect="1"/>
          </p:cNvPicPr>
          <p:nvPr userDrawn="1"/>
        </p:nvPicPr>
        <p:blipFill>
          <a:blip r:embed="rId10"/>
          <a:stretch>
            <a:fillRect/>
          </a:stretch>
        </p:blipFill>
        <p:spPr>
          <a:xfrm>
            <a:off x="10568973" y="5790525"/>
            <a:ext cx="1510017" cy="883217"/>
          </a:xfrm>
          <a:prstGeom prst="rect">
            <a:avLst/>
          </a:prstGeom>
        </p:spPr>
      </p:pic>
    </p:spTree>
    <p:extLst>
      <p:ext uri="{BB962C8B-B14F-4D97-AF65-F5344CB8AC3E}">
        <p14:creationId xmlns:p14="http://schemas.microsoft.com/office/powerpoint/2010/main" val="1654026653"/>
      </p:ext>
    </p:extLst>
  </p:cSld>
  <p:clrMap bg1="lt1" tx1="dk1" bg2="dk2" tx2="lt2" accent1="accent1" accent2="accent2" accent3="accent3" accent4="accent4" accent5="accent5" accent6="accent6" hlink="hlink" folHlink="folHlink"/>
  <p:sldLayoutIdLst>
    <p:sldLayoutId id="2147483731" r:id="rId1"/>
    <p:sldLayoutId id="2147483732" r:id="rId2"/>
    <p:sldLayoutId id="2147483733" r:id="rId3"/>
    <p:sldLayoutId id="2147483735" r:id="rId4"/>
    <p:sldLayoutId id="2147483736" r:id="rId5"/>
    <p:sldLayoutId id="2147483737" r:id="rId6"/>
    <p:sldLayoutId id="2147483738" r:id="rId7"/>
    <p:sldLayoutId id="2147483739" r:id="rId8"/>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Franklin Gothic Medium" panose="020B0603020102020204" pitchFamily="34" charset="0"/>
          <a:ea typeface="Franklin Gothic Medium" panose="020B0603020102020204" pitchFamily="34"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emf"/><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5.png"/><Relationship Id="rId1" Type="http://schemas.openxmlformats.org/officeDocument/2006/relationships/slideLayout" Target="../slideLayouts/slideLayout34.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6.xml"/><Relationship Id="rId1" Type="http://schemas.openxmlformats.org/officeDocument/2006/relationships/tags" Target="../tags/tag52.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49.xml"/><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hyperlink" Target="https://council.vancouver.ca/20201103/documents/p1.pdf#page=213" TargetMode="External"/><Relationship Id="rId7" Type="http://schemas.openxmlformats.org/officeDocument/2006/relationships/hyperlink" Target="https://www.gsa.gov/cdnstatic/Low%20embodied%20carbon%20concrete%20SOW%20language-Sept%202022.pdf" TargetMode="External"/><Relationship Id="rId2" Type="http://schemas.openxmlformats.org/officeDocument/2006/relationships/notesSlide" Target="../notesSlides/notesSlide9.xml"/><Relationship Id="rId1" Type="http://schemas.openxmlformats.org/officeDocument/2006/relationships/slideLayout" Target="../slideLayouts/slideLayout47.xml"/><Relationship Id="rId6" Type="http://schemas.openxmlformats.org/officeDocument/2006/relationships/hyperlink" Target="https://ised-isde.canada.ca/site/ised/en/joint-statement-canadas-cement-industry-and-government-canada-announce-partnership" TargetMode="External"/><Relationship Id="rId5" Type="http://schemas.openxmlformats.org/officeDocument/2006/relationships/hyperlink" Target="https://www.marincounty.org/-/media/files/departments/cd/planning/sustainability/low-carbon-concrete/12172019-update/low-carbon-concrete-code.pdf?la=en" TargetMode="External"/><Relationship Id="rId10" Type="http://schemas.openxmlformats.org/officeDocument/2006/relationships/image" Target="../media/image65.svg"/><Relationship Id="rId4" Type="http://schemas.openxmlformats.org/officeDocument/2006/relationships/hyperlink" Target="https://www.portland.gov/water/news/2022/6/16/city-portland-infrastructure-bureaus-adopt-environmental-standards-concrete" TargetMode="External"/><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mailto:info@neuconcrete.org" TargetMode="External"/><Relationship Id="rId2" Type="http://schemas.openxmlformats.org/officeDocument/2006/relationships/notesSlide" Target="../notesSlides/notesSlide12.xml"/><Relationship Id="rId1" Type="http://schemas.openxmlformats.org/officeDocument/2006/relationships/slideLayout" Target="../slideLayouts/slideLayout51.xml"/><Relationship Id="rId6" Type="http://schemas.openxmlformats.org/officeDocument/2006/relationships/hyperlink" Target="http://www.neuconcrete.org/" TargetMode="External"/><Relationship Id="rId5" Type="http://schemas.openxmlformats.org/officeDocument/2006/relationships/image" Target="../media/image6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hyperlink" Target="https://www.neuconcrete.org/events-and-education" TargetMode="External"/><Relationship Id="rId2" Type="http://schemas.openxmlformats.org/officeDocument/2006/relationships/notesSlide" Target="../notesSlides/notesSlide1.xml"/><Relationship Id="rId1" Type="http://schemas.openxmlformats.org/officeDocument/2006/relationships/slideLayout" Target="../slideLayouts/slideLayout52.xml"/><Relationship Id="rId5" Type="http://schemas.openxmlformats.org/officeDocument/2006/relationships/image" Target="../media/image43.sv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50.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1.xml"/><Relationship Id="rId6" Type="http://schemas.openxmlformats.org/officeDocument/2006/relationships/image" Target="../media/image46.jpe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E9738C8C-CB54-4FF6-B2F7-CFDA1A518119}"/>
              </a:ext>
            </a:extLst>
          </p:cNvPr>
          <p:cNvPicPr>
            <a:picLocks noGrp="1" noChangeAspect="1"/>
          </p:cNvPicPr>
          <p:nvPr>
            <p:ph type="pic" sz="quarter" idx="36"/>
          </p:nvPr>
        </p:nvPicPr>
        <p:blipFill rotWithShape="1">
          <a:blip r:embed="rId3">
            <a:extLst>
              <a:ext uri="{28A0092B-C50C-407E-A947-70E740481C1C}">
                <a14:useLocalDpi xmlns:a14="http://schemas.microsoft.com/office/drawing/2010/main" val="0"/>
              </a:ext>
            </a:extLst>
          </a:blip>
          <a:srcRect t="7813" b="7813"/>
          <a:stretch/>
        </p:blipFill>
        <p:spPr>
          <a:xfrm>
            <a:off x="0" y="0"/>
            <a:ext cx="12248286" cy="6867525"/>
          </a:xfrm>
        </p:spPr>
      </p:pic>
      <p:sp>
        <p:nvSpPr>
          <p:cNvPr id="31" name="Text Placeholder 30">
            <a:extLst>
              <a:ext uri="{FF2B5EF4-FFF2-40B4-BE49-F238E27FC236}">
                <a16:creationId xmlns:a16="http://schemas.microsoft.com/office/drawing/2014/main" id="{58A43111-F113-F553-D426-650A3A25720D}"/>
              </a:ext>
            </a:extLst>
          </p:cNvPr>
          <p:cNvSpPr>
            <a:spLocks noGrp="1"/>
          </p:cNvSpPr>
          <p:nvPr>
            <p:ph type="body" sz="quarter" idx="39"/>
          </p:nvPr>
        </p:nvSpPr>
        <p:spPr>
          <a:xfrm>
            <a:off x="382587" y="370800"/>
            <a:ext cx="6504757" cy="3868539"/>
          </a:xfrm>
        </p:spPr>
        <p:txBody>
          <a:bodyPr/>
          <a:lstStyle/>
          <a:p>
            <a:endParaRPr lang="en-US" dirty="0"/>
          </a:p>
        </p:txBody>
      </p:sp>
      <p:sp>
        <p:nvSpPr>
          <p:cNvPr id="3" name="Title 2">
            <a:extLst>
              <a:ext uri="{FF2B5EF4-FFF2-40B4-BE49-F238E27FC236}">
                <a16:creationId xmlns:a16="http://schemas.microsoft.com/office/drawing/2014/main" id="{DE209E81-91E1-72F3-3F6E-9FA8F9D6093E}"/>
              </a:ext>
            </a:extLst>
          </p:cNvPr>
          <p:cNvSpPr>
            <a:spLocks noGrp="1"/>
          </p:cNvSpPr>
          <p:nvPr>
            <p:ph type="title"/>
          </p:nvPr>
        </p:nvSpPr>
        <p:spPr>
          <a:xfrm>
            <a:off x="505470" y="490155"/>
            <a:ext cx="6381875" cy="2128507"/>
          </a:xfrm>
        </p:spPr>
        <p:txBody>
          <a:bodyPr vert="horz"/>
          <a:lstStyle/>
          <a:p>
            <a:br>
              <a:rPr lang="en-US" sz="1800" dirty="0"/>
            </a:br>
            <a:r>
              <a:rPr lang="en-US" sz="3200" dirty="0"/>
              <a:t>Heidelberg Materials</a:t>
            </a:r>
            <a:br>
              <a:rPr lang="en-US" sz="3200" dirty="0"/>
            </a:br>
            <a:br>
              <a:rPr lang="en-US" sz="3200" dirty="0"/>
            </a:br>
            <a:br>
              <a:rPr lang="en-US" dirty="0"/>
            </a:br>
            <a:r>
              <a:rPr lang="en-US" sz="2000" dirty="0"/>
              <a:t>Is there a pathway to “Net Zero Concrete” ?</a:t>
            </a:r>
          </a:p>
        </p:txBody>
      </p:sp>
      <p:sp>
        <p:nvSpPr>
          <p:cNvPr id="7" name="Footer Placeholder 6">
            <a:extLst>
              <a:ext uri="{FF2B5EF4-FFF2-40B4-BE49-F238E27FC236}">
                <a16:creationId xmlns:a16="http://schemas.microsoft.com/office/drawing/2014/main" id="{B0253774-43B9-2E7A-A862-0E76C69AE57B}"/>
              </a:ext>
            </a:extLst>
          </p:cNvPr>
          <p:cNvSpPr>
            <a:spLocks noGrp="1"/>
          </p:cNvSpPr>
          <p:nvPr>
            <p:ph type="ftr" sz="quarter" idx="11"/>
          </p:nvPr>
        </p:nvSpPr>
        <p:spPr>
          <a:xfrm>
            <a:off x="627346" y="3718417"/>
            <a:ext cx="5235824" cy="329321"/>
          </a:xfrm>
        </p:spPr>
        <p:txBody>
          <a:bodyPr/>
          <a:lstStyle/>
          <a:p>
            <a:r>
              <a:rPr lang="en-US" sz="1400" noProof="0" dirty="0"/>
              <a:t>Ignacio Cariaga. Commercial Sustainability Director</a:t>
            </a:r>
          </a:p>
        </p:txBody>
      </p:sp>
      <p:graphicFrame>
        <p:nvGraphicFramePr>
          <p:cNvPr id="9" name="Object 8" hidden="1">
            <a:extLst>
              <a:ext uri="{FF2B5EF4-FFF2-40B4-BE49-F238E27FC236}">
                <a16:creationId xmlns:a16="http://schemas.microsoft.com/office/drawing/2014/main" id="{E160CDA8-7373-5CEE-42AA-DA2CE65EBA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9" name="Object 8" hidden="1">
                        <a:extLst>
                          <a:ext uri="{FF2B5EF4-FFF2-40B4-BE49-F238E27FC236}">
                            <a16:creationId xmlns:a16="http://schemas.microsoft.com/office/drawing/2014/main" id="{E160CDA8-7373-5CEE-42AA-DA2CE65EBA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29">
            <a:extLst>
              <a:ext uri="{FF2B5EF4-FFF2-40B4-BE49-F238E27FC236}">
                <a16:creationId xmlns:a16="http://schemas.microsoft.com/office/drawing/2014/main" id="{F0D84329-BDD9-4C97-9C5F-3D715228E9EF}"/>
              </a:ext>
            </a:extLst>
          </p:cNvPr>
          <p:cNvSpPr>
            <a:spLocks noGrp="1"/>
          </p:cNvSpPr>
          <p:nvPr>
            <p:ph type="body" sz="quarter" idx="19"/>
          </p:nvPr>
        </p:nvSpPr>
        <p:spPr>
          <a:xfrm>
            <a:off x="11295111" y="5981426"/>
            <a:ext cx="508274" cy="508274"/>
          </a:xfrm>
        </p:spPr>
        <p:txBody>
          <a:bodyPr/>
          <a:lstStyle/>
          <a:p>
            <a:endParaRPr lang="en-US" dirty="0"/>
          </a:p>
        </p:txBody>
      </p:sp>
      <p:pic>
        <p:nvPicPr>
          <p:cNvPr id="11" name="Picture 10">
            <a:extLst>
              <a:ext uri="{FF2B5EF4-FFF2-40B4-BE49-F238E27FC236}">
                <a16:creationId xmlns:a16="http://schemas.microsoft.com/office/drawing/2014/main" id="{1C67AF2F-1F5E-4370-AAB5-7AB34B3220C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062776" y="119984"/>
            <a:ext cx="2999690" cy="1754535"/>
          </a:xfrm>
          <a:prstGeom prst="rect">
            <a:avLst/>
          </a:prstGeom>
          <a:solidFill>
            <a:schemeClr val="bg1"/>
          </a:solidFill>
        </p:spPr>
      </p:pic>
    </p:spTree>
    <p:extLst>
      <p:ext uri="{BB962C8B-B14F-4D97-AF65-F5344CB8AC3E}">
        <p14:creationId xmlns:p14="http://schemas.microsoft.com/office/powerpoint/2010/main" val="3492391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87E4697-C35C-42C5-A43D-48F642A75661}"/>
              </a:ext>
            </a:extLst>
          </p:cNvPr>
          <p:cNvSpPr>
            <a:spLocks noGrp="1"/>
          </p:cNvSpPr>
          <p:nvPr>
            <p:ph type="title"/>
          </p:nvPr>
        </p:nvSpPr>
        <p:spPr/>
        <p:txBody>
          <a:bodyPr/>
          <a:lstStyle/>
          <a:p>
            <a:r>
              <a:rPr lang="en-US" dirty="0"/>
              <a:t>Our geographic footprint </a:t>
            </a:r>
          </a:p>
        </p:txBody>
      </p:sp>
      <p:pic>
        <p:nvPicPr>
          <p:cNvPr id="13" name="Picture 12" descr="Map&#10;&#10;Description automatically generated">
            <a:extLst>
              <a:ext uri="{FF2B5EF4-FFF2-40B4-BE49-F238E27FC236}">
                <a16:creationId xmlns:a16="http://schemas.microsoft.com/office/drawing/2014/main" id="{27BC0F4B-DF15-46A5-A0B1-01D9ED05F582}"/>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2041" t="2823" r="2041" b="3564"/>
          <a:stretch/>
        </p:blipFill>
        <p:spPr>
          <a:xfrm>
            <a:off x="2505713" y="798218"/>
            <a:ext cx="8177527" cy="5185145"/>
          </a:xfrm>
          <a:prstGeom prst="rect">
            <a:avLst/>
          </a:prstGeom>
        </p:spPr>
      </p:pic>
      <p:sp>
        <p:nvSpPr>
          <p:cNvPr id="3" name="TextBox 2">
            <a:extLst>
              <a:ext uri="{FF2B5EF4-FFF2-40B4-BE49-F238E27FC236}">
                <a16:creationId xmlns:a16="http://schemas.microsoft.com/office/drawing/2014/main" id="{8B6CC1D3-529E-477C-AB77-56321224ACE6}"/>
              </a:ext>
            </a:extLst>
          </p:cNvPr>
          <p:cNvSpPr txBox="1"/>
          <p:nvPr/>
        </p:nvSpPr>
        <p:spPr>
          <a:xfrm>
            <a:off x="10205937" y="4443680"/>
            <a:ext cx="1763453" cy="14736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p>
            <a:pPr algn="l"/>
            <a:r>
              <a:rPr lang="en-US" sz="1800" dirty="0"/>
              <a:t>Operations in 28 states and 6 provinces</a:t>
            </a:r>
          </a:p>
          <a:p>
            <a:pPr algn="l"/>
            <a:endParaRPr lang="en-US" dirty="0"/>
          </a:p>
        </p:txBody>
      </p:sp>
      <p:pic>
        <p:nvPicPr>
          <p:cNvPr id="11" name="Picture 10">
            <a:extLst>
              <a:ext uri="{FF2B5EF4-FFF2-40B4-BE49-F238E27FC236}">
                <a16:creationId xmlns:a16="http://schemas.microsoft.com/office/drawing/2014/main" id="{D942FE1E-098D-4E23-B471-BF3EFB510B0A}"/>
              </a:ext>
            </a:extLst>
          </p:cNvPr>
          <p:cNvPicPr>
            <a:picLocks noChangeAspect="1"/>
          </p:cNvPicPr>
          <p:nvPr/>
        </p:nvPicPr>
        <p:blipFill>
          <a:blip r:embed="rId3"/>
          <a:stretch>
            <a:fillRect/>
          </a:stretch>
        </p:blipFill>
        <p:spPr>
          <a:xfrm>
            <a:off x="769922" y="1073300"/>
            <a:ext cx="2658360" cy="139942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0" name="Foliennummernplatzhalter 23">
            <a:extLst>
              <a:ext uri="{FF2B5EF4-FFF2-40B4-BE49-F238E27FC236}">
                <a16:creationId xmlns:a16="http://schemas.microsoft.com/office/drawing/2014/main" id="{28A882AD-8380-4B30-9032-5C13CA4DF69A}"/>
              </a:ext>
            </a:extLst>
          </p:cNvPr>
          <p:cNvSpPr>
            <a:spLocks noGrp="1"/>
          </p:cNvSpPr>
          <p:nvPr>
            <p:ph type="sldNum" sz="quarter" idx="17"/>
          </p:nvPr>
        </p:nvSpPr>
        <p:spPr>
          <a:xfrm>
            <a:off x="382589" y="6386334"/>
            <a:ext cx="265112" cy="123111"/>
          </a:xfrm>
        </p:spPr>
        <p:txBody>
          <a:bodyPr/>
          <a:lstStyle/>
          <a:p>
            <a:fld id="{A115CDC9-74CB-4F6C-8CD3-A6C89F254EE7}" type="slidenum">
              <a:rPr lang="en-US" smtClean="0"/>
              <a:pPr/>
              <a:t>10</a:t>
            </a:fld>
            <a:endParaRPr lang="en-US" dirty="0"/>
          </a:p>
        </p:txBody>
      </p:sp>
    </p:spTree>
    <p:extLst>
      <p:ext uri="{BB962C8B-B14F-4D97-AF65-F5344CB8AC3E}">
        <p14:creationId xmlns:p14="http://schemas.microsoft.com/office/powerpoint/2010/main" val="111554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descr="Ein Bild, das draußen, Baum, Person, Pflanze enthält.&#10;&#10;Automatisch generierte Beschreibung">
            <a:extLst>
              <a:ext uri="{FF2B5EF4-FFF2-40B4-BE49-F238E27FC236}">
                <a16:creationId xmlns:a16="http://schemas.microsoft.com/office/drawing/2014/main" id="{425496C9-D399-5357-F773-41F80DB4EB53}"/>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val="0"/>
              </a:ext>
            </a:extLst>
          </a:blip>
          <a:srcRect l="29383" r="21697"/>
          <a:stretch/>
        </p:blipFill>
        <p:spPr>
          <a:xfrm>
            <a:off x="0" y="1"/>
            <a:ext cx="5032375" cy="6857729"/>
          </a:xfrm>
        </p:spPr>
      </p:pic>
      <p:sp>
        <p:nvSpPr>
          <p:cNvPr id="20" name="Titel 2">
            <a:extLst>
              <a:ext uri="{FF2B5EF4-FFF2-40B4-BE49-F238E27FC236}">
                <a16:creationId xmlns:a16="http://schemas.microsoft.com/office/drawing/2014/main" id="{25077E85-26E8-8E8C-BE67-64DD24054C0D}"/>
              </a:ext>
            </a:extLst>
          </p:cNvPr>
          <p:cNvSpPr>
            <a:spLocks noGrp="1"/>
          </p:cNvSpPr>
          <p:nvPr>
            <p:ph type="title"/>
          </p:nvPr>
        </p:nvSpPr>
        <p:spPr/>
        <p:txBody>
          <a:bodyPr/>
          <a:lstStyle/>
          <a:p>
            <a:r>
              <a:rPr lang="en-GB" sz="2000" dirty="0">
                <a:latin typeface="+mj-lt"/>
              </a:rPr>
              <a:t>Heidelberg Materials global concrete promises</a:t>
            </a:r>
            <a:endParaRPr lang="de-DE" dirty="0"/>
          </a:p>
        </p:txBody>
      </p:sp>
      <p:sp>
        <p:nvSpPr>
          <p:cNvPr id="5" name="Textfeld 4">
            <a:extLst>
              <a:ext uri="{FF2B5EF4-FFF2-40B4-BE49-F238E27FC236}">
                <a16:creationId xmlns:a16="http://schemas.microsoft.com/office/drawing/2014/main" id="{5FF717FD-311B-B134-9AB3-9EA4EDD5BE44}"/>
              </a:ext>
            </a:extLst>
          </p:cNvPr>
          <p:cNvSpPr txBox="1"/>
          <p:nvPr/>
        </p:nvSpPr>
        <p:spPr>
          <a:xfrm>
            <a:off x="6192838" y="1361953"/>
            <a:ext cx="5618162" cy="4200525"/>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t">
            <a:noAutofit/>
          </a:bodyPr>
          <a:lstStyle/>
          <a:p>
            <a:pPr marL="359410" lvl="0" indent="-342900">
              <a:lnSpc>
                <a:spcPct val="100000"/>
              </a:lnSpc>
              <a:spcAft>
                <a:spcPts val="1200"/>
              </a:spcAft>
              <a:buFont typeface="+mj-lt"/>
              <a:buAutoNum type="arabicPeriod"/>
            </a:pPr>
            <a:r>
              <a:rPr lang="en-US" sz="1400" dirty="0">
                <a:solidFill>
                  <a:schemeClr val="bg1"/>
                </a:solidFill>
              </a:rPr>
              <a:t>We focus on </a:t>
            </a:r>
            <a:r>
              <a:rPr lang="en-US" sz="1400" dirty="0">
                <a:solidFill>
                  <a:schemeClr val="bg1"/>
                </a:solidFill>
                <a:latin typeface="Lexend BD"/>
              </a:rPr>
              <a:t>heavy building materials</a:t>
            </a:r>
            <a:r>
              <a:rPr lang="en-US" sz="1400" dirty="0">
                <a:solidFill>
                  <a:schemeClr val="bg1"/>
                </a:solidFill>
              </a:rPr>
              <a:t>.</a:t>
            </a:r>
            <a:endParaRPr lang="de-DE" dirty="0">
              <a:solidFill>
                <a:schemeClr val="bg1"/>
              </a:solidFill>
            </a:endParaRPr>
          </a:p>
          <a:p>
            <a:pPr marL="359410" indent="-342900">
              <a:spcAft>
                <a:spcPts val="1200"/>
              </a:spcAft>
              <a:buFont typeface="+mj-lt"/>
              <a:buAutoNum type="arabicPeriod"/>
            </a:pPr>
            <a:r>
              <a:rPr lang="en-US" sz="1400" dirty="0">
                <a:solidFill>
                  <a:schemeClr val="bg1"/>
                </a:solidFill>
              </a:rPr>
              <a:t>We commit to generate </a:t>
            </a:r>
            <a:r>
              <a:rPr lang="en-US" sz="1400" dirty="0">
                <a:solidFill>
                  <a:schemeClr val="bg1"/>
                </a:solidFill>
                <a:latin typeface="Lexend BD"/>
              </a:rPr>
              <a:t>50% of our revenue from sustainable products</a:t>
            </a:r>
            <a:r>
              <a:rPr lang="en-US" sz="1400" dirty="0">
                <a:solidFill>
                  <a:schemeClr val="bg1"/>
                </a:solidFill>
              </a:rPr>
              <a:t> by 2030. </a:t>
            </a:r>
          </a:p>
          <a:p>
            <a:pPr marL="359410" indent="-342900">
              <a:spcAft>
                <a:spcPts val="1200"/>
              </a:spcAft>
              <a:buFont typeface="+mj-lt"/>
              <a:buAutoNum type="arabicPeriod"/>
            </a:pPr>
            <a:r>
              <a:rPr lang="en-US" sz="1400" dirty="0">
                <a:solidFill>
                  <a:schemeClr val="bg1"/>
                </a:solidFill>
              </a:rPr>
              <a:t>We commit to </a:t>
            </a:r>
            <a:r>
              <a:rPr lang="en-US" sz="1400" dirty="0">
                <a:solidFill>
                  <a:schemeClr val="bg1"/>
                </a:solidFill>
                <a:latin typeface="Lexend BD"/>
              </a:rPr>
              <a:t>reduce CO</a:t>
            </a:r>
            <a:r>
              <a:rPr lang="en-US" sz="1400" baseline="-25000" dirty="0">
                <a:solidFill>
                  <a:schemeClr val="bg1"/>
                </a:solidFill>
                <a:latin typeface="Lexend BD"/>
              </a:rPr>
              <a:t>2</a:t>
            </a:r>
            <a:r>
              <a:rPr lang="en-US" sz="1400" dirty="0">
                <a:solidFill>
                  <a:schemeClr val="bg1"/>
                </a:solidFill>
                <a:latin typeface="Lexend BD"/>
              </a:rPr>
              <a:t> emissions by almost 50%</a:t>
            </a:r>
            <a:r>
              <a:rPr lang="en-US" sz="1400" dirty="0">
                <a:solidFill>
                  <a:schemeClr val="bg1"/>
                </a:solidFill>
              </a:rPr>
              <a:t> to 400 kg CO</a:t>
            </a:r>
            <a:r>
              <a:rPr lang="en-US" sz="1400" baseline="-25000" dirty="0">
                <a:solidFill>
                  <a:schemeClr val="bg1"/>
                </a:solidFill>
              </a:rPr>
              <a:t>2</a:t>
            </a:r>
            <a:r>
              <a:rPr lang="en-US" sz="1400" dirty="0">
                <a:solidFill>
                  <a:schemeClr val="bg1"/>
                </a:solidFill>
              </a:rPr>
              <a:t>/t CEM by 2030. </a:t>
            </a:r>
          </a:p>
          <a:p>
            <a:pPr marL="359410" lvl="0" indent="-342900">
              <a:lnSpc>
                <a:spcPct val="100000"/>
              </a:lnSpc>
              <a:spcAft>
                <a:spcPts val="1200"/>
              </a:spcAft>
              <a:buFont typeface="+mj-lt"/>
              <a:buAutoNum type="arabicPeriod"/>
            </a:pPr>
            <a:r>
              <a:rPr lang="en-US" sz="1400" dirty="0">
                <a:solidFill>
                  <a:schemeClr val="bg1"/>
                </a:solidFill>
              </a:rPr>
              <a:t>We will make this transition a </a:t>
            </a:r>
            <a:r>
              <a:rPr lang="en-US" sz="1400" dirty="0">
                <a:solidFill>
                  <a:schemeClr val="bg1"/>
                </a:solidFill>
                <a:latin typeface="Lexend BD"/>
              </a:rPr>
              <a:t>successful business case</a:t>
            </a:r>
            <a:r>
              <a:rPr lang="en-US" sz="1400" dirty="0">
                <a:solidFill>
                  <a:schemeClr val="bg1"/>
                </a:solidFill>
              </a:rPr>
              <a:t>: </a:t>
            </a:r>
            <a:br>
              <a:rPr lang="en-US" sz="1400" dirty="0"/>
            </a:br>
            <a:r>
              <a:rPr lang="en-US" sz="1400" dirty="0">
                <a:solidFill>
                  <a:schemeClr val="bg1"/>
                </a:solidFill>
              </a:rPr>
              <a:t>on growth, margins, cash flow, ROIC, and leverage. </a:t>
            </a:r>
          </a:p>
          <a:p>
            <a:pPr marL="359410" indent="-342900">
              <a:spcAft>
                <a:spcPts val="1200"/>
              </a:spcAft>
              <a:buFont typeface="+mj-lt"/>
              <a:buAutoNum type="arabicPeriod"/>
            </a:pPr>
            <a:r>
              <a:rPr lang="en-US" sz="1400" dirty="0">
                <a:solidFill>
                  <a:schemeClr val="bg1"/>
                </a:solidFill>
              </a:rPr>
              <a:t>We drive the </a:t>
            </a:r>
            <a:r>
              <a:rPr lang="en-US" sz="1400" dirty="0">
                <a:solidFill>
                  <a:schemeClr val="bg1"/>
                </a:solidFill>
                <a:latin typeface="Lexend BD"/>
              </a:rPr>
              <a:t>change for the benefit </a:t>
            </a:r>
            <a:r>
              <a:rPr lang="en-US" sz="1400" dirty="0">
                <a:solidFill>
                  <a:schemeClr val="bg1"/>
                </a:solidFill>
                <a:latin typeface="Lexend Light"/>
              </a:rPr>
              <a:t>of our customers, our shareholders, our employees, and the society we live in</a:t>
            </a:r>
            <a:r>
              <a:rPr lang="en-US" sz="1400" dirty="0">
                <a:solidFill>
                  <a:schemeClr val="bg1"/>
                </a:solidFill>
              </a:rPr>
              <a:t>. </a:t>
            </a:r>
          </a:p>
          <a:p>
            <a:pPr marL="359410" lvl="0" indent="-342900">
              <a:lnSpc>
                <a:spcPct val="100000"/>
              </a:lnSpc>
              <a:spcAft>
                <a:spcPts val="1200"/>
              </a:spcAft>
              <a:buFont typeface="+mj-lt"/>
              <a:buAutoNum type="arabicPeriod"/>
            </a:pPr>
            <a:endParaRPr lang="en-US" sz="1400" b="1" dirty="0">
              <a:solidFill>
                <a:schemeClr val="bg1"/>
              </a:solidFill>
            </a:endParaRPr>
          </a:p>
        </p:txBody>
      </p:sp>
      <p:sp>
        <p:nvSpPr>
          <p:cNvPr id="2" name="Foliennummernplatzhalter 1">
            <a:extLst>
              <a:ext uri="{FF2B5EF4-FFF2-40B4-BE49-F238E27FC236}">
                <a16:creationId xmlns:a16="http://schemas.microsoft.com/office/drawing/2014/main" id="{3ABC1D41-F301-668E-F973-FA2B18A5C850}"/>
              </a:ext>
            </a:extLst>
          </p:cNvPr>
          <p:cNvSpPr>
            <a:spLocks noGrp="1"/>
          </p:cNvSpPr>
          <p:nvPr>
            <p:ph type="sldNum" sz="quarter" idx="27"/>
          </p:nvPr>
        </p:nvSpPr>
        <p:spPr/>
        <p:txBody>
          <a:bodyPr/>
          <a:lstStyle/>
          <a:p>
            <a:fld id="{A115CDC9-74CB-4F6C-8CD3-A6C89F254EE7}" type="slidenum">
              <a:rPr lang="en-US" noProof="0" smtClean="0"/>
              <a:pPr/>
              <a:t>11</a:t>
            </a:fld>
            <a:endParaRPr lang="en-US" noProof="0"/>
          </a:p>
        </p:txBody>
      </p:sp>
      <p:pic>
        <p:nvPicPr>
          <p:cNvPr id="4" name="Picture 3">
            <a:extLst>
              <a:ext uri="{FF2B5EF4-FFF2-40B4-BE49-F238E27FC236}">
                <a16:creationId xmlns:a16="http://schemas.microsoft.com/office/drawing/2014/main" id="{F4AA1366-02B1-4AC8-B4F7-0740808F92DF}"/>
              </a:ext>
            </a:extLst>
          </p:cNvPr>
          <p:cNvPicPr>
            <a:picLocks noChangeAspect="1"/>
          </p:cNvPicPr>
          <p:nvPr/>
        </p:nvPicPr>
        <p:blipFill>
          <a:blip r:embed="rId3"/>
          <a:stretch>
            <a:fillRect/>
          </a:stretch>
        </p:blipFill>
        <p:spPr>
          <a:xfrm>
            <a:off x="5277804" y="5013365"/>
            <a:ext cx="5372693" cy="1372969"/>
          </a:xfrm>
          <a:prstGeom prst="rect">
            <a:avLst/>
          </a:prstGeom>
        </p:spPr>
      </p:pic>
    </p:spTree>
    <p:extLst>
      <p:ext uri="{BB962C8B-B14F-4D97-AF65-F5344CB8AC3E}">
        <p14:creationId xmlns:p14="http://schemas.microsoft.com/office/powerpoint/2010/main" val="3741717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A7C501-1793-41D0-BDB3-73D19BC97F54}"/>
              </a:ext>
            </a:extLst>
          </p:cNvPr>
          <p:cNvSpPr>
            <a:spLocks noGrp="1"/>
          </p:cNvSpPr>
          <p:nvPr>
            <p:ph type="title"/>
          </p:nvPr>
        </p:nvSpPr>
        <p:spPr>
          <a:xfrm>
            <a:off x="630299" y="713128"/>
            <a:ext cx="11419082" cy="560218"/>
          </a:xfrm>
        </p:spPr>
        <p:txBody>
          <a:bodyPr/>
          <a:lstStyle/>
          <a:p>
            <a:r>
              <a:rPr lang="en-CA" dirty="0"/>
              <a:t>Heidelberg Materials’ Roadmap to Net Zero Concrete – </a:t>
            </a:r>
            <a:br>
              <a:rPr lang="en-CA" dirty="0"/>
            </a:br>
            <a:r>
              <a:rPr lang="en-CA" dirty="0"/>
              <a:t>Multidimensional Approach</a:t>
            </a:r>
          </a:p>
        </p:txBody>
      </p:sp>
      <p:pic>
        <p:nvPicPr>
          <p:cNvPr id="18" name="Picture 17">
            <a:extLst>
              <a:ext uri="{FF2B5EF4-FFF2-40B4-BE49-F238E27FC236}">
                <a16:creationId xmlns:a16="http://schemas.microsoft.com/office/drawing/2014/main" id="{81DD4ABC-4C5E-4554-94BE-79373CF4E44B}"/>
              </a:ext>
            </a:extLst>
          </p:cNvPr>
          <p:cNvPicPr>
            <a:picLocks noChangeAspect="1"/>
          </p:cNvPicPr>
          <p:nvPr/>
        </p:nvPicPr>
        <p:blipFill rotWithShape="1">
          <a:blip r:embed="rId2"/>
          <a:srcRect l="53218" t="11827" b="12374"/>
          <a:stretch/>
        </p:blipFill>
        <p:spPr>
          <a:xfrm>
            <a:off x="457540" y="1545201"/>
            <a:ext cx="5371761" cy="3767598"/>
          </a:xfrm>
          <a:prstGeom prst="rect">
            <a:avLst/>
          </a:prstGeom>
        </p:spPr>
      </p:pic>
      <p:sp>
        <p:nvSpPr>
          <p:cNvPr id="19" name="Content Placeholder 1">
            <a:extLst>
              <a:ext uri="{FF2B5EF4-FFF2-40B4-BE49-F238E27FC236}">
                <a16:creationId xmlns:a16="http://schemas.microsoft.com/office/drawing/2014/main" id="{EFB01F98-3A73-4320-9292-2D03F993202C}"/>
              </a:ext>
            </a:extLst>
          </p:cNvPr>
          <p:cNvSpPr txBox="1">
            <a:spLocks/>
          </p:cNvSpPr>
          <p:nvPr/>
        </p:nvSpPr>
        <p:spPr>
          <a:xfrm>
            <a:off x="5842001" y="1624560"/>
            <a:ext cx="5968999" cy="3608879"/>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800" dirty="0"/>
              <a:t>Cement operations actively pursuing decarbonization across North America through:</a:t>
            </a:r>
          </a:p>
          <a:p>
            <a:endParaRPr lang="en-CA" sz="1800" dirty="0"/>
          </a:p>
          <a:p>
            <a:pPr marL="285750" indent="-285750">
              <a:buFont typeface="Arial" panose="020B0604020202020204" pitchFamily="34" charset="0"/>
              <a:buChar char="•"/>
            </a:pPr>
            <a:r>
              <a:rPr lang="en-CA" sz="1800" dirty="0"/>
              <a:t>Innovative products, including PLCs, composites cements, and expanded supplementary cementing materials offering</a:t>
            </a:r>
          </a:p>
          <a:p>
            <a:pPr marL="285750" indent="-285750">
              <a:buFont typeface="Arial" panose="020B0604020202020204" pitchFamily="34" charset="0"/>
              <a:buChar char="•"/>
            </a:pPr>
            <a:r>
              <a:rPr lang="en-CA" sz="1800" dirty="0"/>
              <a:t>Innovative technologies, including lower carbon alternative fuels to displace fossil fuels</a:t>
            </a:r>
          </a:p>
          <a:p>
            <a:pPr marL="285750" indent="-285750">
              <a:buFont typeface="Arial" panose="020B0604020202020204" pitchFamily="34" charset="0"/>
              <a:buChar char="•"/>
            </a:pPr>
            <a:r>
              <a:rPr lang="en-CA" sz="1800" dirty="0"/>
              <a:t>CCUS projects, including Edmonton and Mitchell production facilities</a:t>
            </a:r>
          </a:p>
          <a:p>
            <a:endParaRPr lang="en-CA" dirty="0"/>
          </a:p>
        </p:txBody>
      </p:sp>
      <p:sp>
        <p:nvSpPr>
          <p:cNvPr id="7" name="Bildplatzhalter 19">
            <a:extLst>
              <a:ext uri="{FF2B5EF4-FFF2-40B4-BE49-F238E27FC236}">
                <a16:creationId xmlns:a16="http://schemas.microsoft.com/office/drawing/2014/main" id="{0FBFF450-2920-4FE0-801E-A12205E31F03}"/>
              </a:ext>
            </a:extLst>
          </p:cNvPr>
          <p:cNvSpPr>
            <a:spLocks noGrp="1"/>
          </p:cNvSpPr>
          <p:nvPr>
            <p:ph type="pic" sz="quarter" idx="22" hasCustomPrompt="1"/>
          </p:nvPr>
        </p:nvSpPr>
        <p:spPr bwMode="gray">
          <a:xfrm>
            <a:off x="1025514" y="6410506"/>
            <a:ext cx="1062384" cy="103295"/>
          </a:xfrm>
          <a:blipFill>
            <a:blip r:embed="rId3"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endParaRPr lang="en-US" noProof="0" dirty="0"/>
          </a:p>
        </p:txBody>
      </p:sp>
      <p:sp>
        <p:nvSpPr>
          <p:cNvPr id="8" name="Text Placeholder 7">
            <a:extLst>
              <a:ext uri="{FF2B5EF4-FFF2-40B4-BE49-F238E27FC236}">
                <a16:creationId xmlns:a16="http://schemas.microsoft.com/office/drawing/2014/main" id="{BE3D7AA6-9A82-40DD-A144-027FBA5DC82B}"/>
              </a:ext>
            </a:extLst>
          </p:cNvPr>
          <p:cNvSpPr>
            <a:spLocks noGrp="1" noChangeAspect="1"/>
          </p:cNvSpPr>
          <p:nvPr>
            <p:ph type="body" sz="quarter" idx="35" hasCustomPrompt="1"/>
          </p:nvPr>
        </p:nvSpPr>
        <p:spPr>
          <a:xfrm>
            <a:off x="11523000" y="6201700"/>
            <a:ext cx="288000" cy="288000"/>
          </a:xfrm>
          <a:blipFill>
            <a:blip r:embed="rId4"/>
            <a:stretch>
              <a:fillRect/>
            </a:stretch>
          </a:blipFill>
        </p:spPr>
        <p:txBody>
          <a:bodyPr/>
          <a:lstStyle>
            <a:lvl1pPr>
              <a:defRPr sz="100"/>
            </a:lvl1pPr>
          </a:lstStyle>
          <a:p>
            <a:pPr lvl="0"/>
            <a:r>
              <a:rPr lang="de-DE" dirty="0"/>
              <a:t> </a:t>
            </a:r>
            <a:endParaRPr lang="en-US" dirty="0"/>
          </a:p>
        </p:txBody>
      </p:sp>
    </p:spTree>
    <p:extLst>
      <p:ext uri="{BB962C8B-B14F-4D97-AF65-F5344CB8AC3E}">
        <p14:creationId xmlns:p14="http://schemas.microsoft.com/office/powerpoint/2010/main" val="2701824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F54CE97-3986-446C-A0A2-CDF2080F1062}"/>
              </a:ext>
            </a:extLst>
          </p:cNvPr>
          <p:cNvSpPr>
            <a:spLocks noGrp="1"/>
          </p:cNvSpPr>
          <p:nvPr>
            <p:ph type="body" sz="quarter" idx="35"/>
          </p:nvPr>
        </p:nvSpPr>
        <p:spPr/>
        <p:txBody>
          <a:bodyPr/>
          <a:lstStyle/>
          <a:p>
            <a:endParaRPr lang="en-US"/>
          </a:p>
        </p:txBody>
      </p:sp>
      <p:sp>
        <p:nvSpPr>
          <p:cNvPr id="16" name="Text Placeholder 3">
            <a:extLst>
              <a:ext uri="{FF2B5EF4-FFF2-40B4-BE49-F238E27FC236}">
                <a16:creationId xmlns:a16="http://schemas.microsoft.com/office/drawing/2014/main" id="{AAAA17C4-5426-4071-9050-7543B716F2D0}"/>
              </a:ext>
            </a:extLst>
          </p:cNvPr>
          <p:cNvSpPr txBox="1">
            <a:spLocks/>
          </p:cNvSpPr>
          <p:nvPr/>
        </p:nvSpPr>
        <p:spPr>
          <a:xfrm>
            <a:off x="650881" y="277229"/>
            <a:ext cx="11189820" cy="218427"/>
          </a:xfrm>
          <a:prstGeom prst="rect">
            <a:avLst/>
          </a:prstGeom>
        </p:spPr>
        <p:txBody>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3" name="Title 3">
            <a:extLst>
              <a:ext uri="{FF2B5EF4-FFF2-40B4-BE49-F238E27FC236}">
                <a16:creationId xmlns:a16="http://schemas.microsoft.com/office/drawing/2014/main" id="{96B5F822-DFB7-44B3-B52A-FC521BF2C344}"/>
              </a:ext>
            </a:extLst>
          </p:cNvPr>
          <p:cNvSpPr>
            <a:spLocks noGrp="1"/>
          </p:cNvSpPr>
          <p:nvPr>
            <p:ph type="title"/>
          </p:nvPr>
        </p:nvSpPr>
        <p:spPr>
          <a:xfrm>
            <a:off x="959642" y="193817"/>
            <a:ext cx="11189820" cy="837217"/>
          </a:xfrm>
        </p:spPr>
        <p:txBody>
          <a:bodyPr/>
          <a:lstStyle/>
          <a:p>
            <a:pPr algn="ctr"/>
            <a:r>
              <a:rPr lang="en-US" dirty="0"/>
              <a:t>Path to carbon free cement:</a:t>
            </a:r>
            <a:br>
              <a:rPr lang="en-US" dirty="0"/>
            </a:br>
            <a:br>
              <a:rPr lang="en-US" dirty="0"/>
            </a:br>
            <a:r>
              <a:rPr lang="en-US" dirty="0"/>
              <a:t>Carbon Capture Utilization Storage (CCUS) Edmonton, AB</a:t>
            </a:r>
          </a:p>
        </p:txBody>
      </p:sp>
      <p:sp>
        <p:nvSpPr>
          <p:cNvPr id="14" name="Content Placeholder 1">
            <a:extLst>
              <a:ext uri="{FF2B5EF4-FFF2-40B4-BE49-F238E27FC236}">
                <a16:creationId xmlns:a16="http://schemas.microsoft.com/office/drawing/2014/main" id="{0629D0B6-6CCA-4AB6-AB55-AFB14B707482}"/>
              </a:ext>
            </a:extLst>
          </p:cNvPr>
          <p:cNvSpPr txBox="1">
            <a:spLocks/>
          </p:cNvSpPr>
          <p:nvPr/>
        </p:nvSpPr>
        <p:spPr>
          <a:xfrm>
            <a:off x="650881" y="2319733"/>
            <a:ext cx="4652858" cy="4888946"/>
          </a:xfrm>
          <a:prstGeom prst="rect">
            <a:avLst/>
          </a:prstGeom>
        </p:spPr>
        <p:txBody>
          <a:bodyPr/>
          <a:lstStyle>
            <a:lvl1pPr marL="233363" indent="-233363" algn="l" defTabSz="914400" rtl="0" eaLnBrk="1" latinLnBrk="0" hangingPunct="1">
              <a:spcBef>
                <a:spcPts val="1000"/>
              </a:spcBef>
              <a:buClr>
                <a:schemeClr val="accent1"/>
              </a:buClr>
              <a:buFont typeface="Wingdings" panose="05000000000000000000" pitchFamily="2" charset="2"/>
              <a:buChar char="§"/>
              <a:defRPr sz="2000" kern="1200">
                <a:solidFill>
                  <a:schemeClr val="tx1"/>
                </a:solidFill>
                <a:latin typeface="+mn-lt"/>
                <a:ea typeface="+mn-ea"/>
                <a:cs typeface="+mn-cs"/>
              </a:defRPr>
            </a:lvl1pPr>
            <a:lvl2pPr marL="457200" indent="-223838" algn="l" defTabSz="914400" rtl="0" eaLnBrk="1" latinLnBrk="0" hangingPunct="1">
              <a:spcBef>
                <a:spcPts val="8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630238" indent="-173038" algn="l" defTabSz="914400" rtl="0" eaLnBrk="1" latinLnBrk="0" hangingPunct="1">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854075" indent="-223838"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1027113" indent="-173038"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CA" sz="1600" dirty="0"/>
              <a:t>Carbon free cement</a:t>
            </a:r>
          </a:p>
          <a:p>
            <a:r>
              <a:rPr lang="en-CA" sz="1600" dirty="0"/>
              <a:t>Carbon free concrete without carbon offsets</a:t>
            </a:r>
          </a:p>
          <a:p>
            <a:r>
              <a:rPr lang="en-CA" sz="1600" dirty="0"/>
              <a:t>First to examine feasibility of full-scale CCS in NA as a definitive solution to cut GHG emissions (target 90-95% capture rate)</a:t>
            </a:r>
          </a:p>
          <a:p>
            <a:r>
              <a:rPr lang="en-CA" sz="1600" dirty="0"/>
              <a:t>Reducing </a:t>
            </a:r>
            <a:r>
              <a:rPr lang="en-CA" sz="1600" b="1" dirty="0"/>
              <a:t>1,000,000 tonnes of CO2 annually</a:t>
            </a:r>
          </a:p>
          <a:p>
            <a:r>
              <a:rPr lang="en-CA" sz="1600" dirty="0"/>
              <a:t>Operational in 2026/2027</a:t>
            </a:r>
          </a:p>
          <a:p>
            <a:endParaRPr lang="en-US" sz="1600" dirty="0">
              <a:solidFill>
                <a:schemeClr val="accent1"/>
              </a:solidFill>
            </a:endParaRPr>
          </a:p>
        </p:txBody>
      </p:sp>
      <p:sp>
        <p:nvSpPr>
          <p:cNvPr id="15" name="Title 4">
            <a:extLst>
              <a:ext uri="{FF2B5EF4-FFF2-40B4-BE49-F238E27FC236}">
                <a16:creationId xmlns:a16="http://schemas.microsoft.com/office/drawing/2014/main" id="{A6D9EB61-D8DD-491B-BEFB-A51E40896EEE}"/>
              </a:ext>
            </a:extLst>
          </p:cNvPr>
          <p:cNvSpPr txBox="1">
            <a:spLocks/>
          </p:cNvSpPr>
          <p:nvPr/>
        </p:nvSpPr>
        <p:spPr>
          <a:xfrm>
            <a:off x="483006" y="1453649"/>
            <a:ext cx="6071546" cy="637952"/>
          </a:xfrm>
          <a:prstGeom prst="rect">
            <a:avLst/>
          </a:prstGeom>
        </p:spPr>
        <p:txBody>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r>
              <a:rPr lang="en-CA" sz="1935" b="0" dirty="0">
                <a:solidFill>
                  <a:schemeClr val="tx1"/>
                </a:solidFill>
              </a:rPr>
              <a:t>First in North America</a:t>
            </a:r>
          </a:p>
        </p:txBody>
      </p:sp>
      <p:pic>
        <p:nvPicPr>
          <p:cNvPr id="11" name="Picture 10">
            <a:extLst>
              <a:ext uri="{FF2B5EF4-FFF2-40B4-BE49-F238E27FC236}">
                <a16:creationId xmlns:a16="http://schemas.microsoft.com/office/drawing/2014/main" id="{389E5906-84A4-4F91-8925-CAE7504E0EBD}"/>
              </a:ext>
            </a:extLst>
          </p:cNvPr>
          <p:cNvPicPr>
            <a:picLocks noChangeAspect="1"/>
          </p:cNvPicPr>
          <p:nvPr/>
        </p:nvPicPr>
        <p:blipFill rotWithShape="1">
          <a:blip r:embed="rId2"/>
          <a:srcRect l="2547" r="24878" b="3"/>
          <a:stretch/>
        </p:blipFill>
        <p:spPr>
          <a:xfrm>
            <a:off x="6294911" y="1652703"/>
            <a:ext cx="5545790" cy="5005048"/>
          </a:xfrm>
          <a:custGeom>
            <a:avLst/>
            <a:gdLst>
              <a:gd name="connsiteX0" fmla="*/ 0 w 4789647"/>
              <a:gd name="connsiteY0" fmla="*/ 0 h 4440186"/>
              <a:gd name="connsiteX1" fmla="*/ 4789647 w 4789647"/>
              <a:gd name="connsiteY1" fmla="*/ 0 h 4440186"/>
              <a:gd name="connsiteX2" fmla="*/ 4789647 w 4789647"/>
              <a:gd name="connsiteY2" fmla="*/ 4440186 h 4440186"/>
              <a:gd name="connsiteX3" fmla="*/ 1938570 w 4789647"/>
              <a:gd name="connsiteY3" fmla="*/ 4440186 h 4440186"/>
              <a:gd name="connsiteX4" fmla="*/ 1909174 w 4789647"/>
              <a:gd name="connsiteY4" fmla="*/ 4439968 h 4440186"/>
              <a:gd name="connsiteX5" fmla="*/ 1879884 w 4789647"/>
              <a:gd name="connsiteY5" fmla="*/ 4439313 h 4440186"/>
              <a:gd name="connsiteX6" fmla="*/ 1850700 w 4789647"/>
              <a:gd name="connsiteY6" fmla="*/ 4438226 h 4440186"/>
              <a:gd name="connsiteX7" fmla="*/ 1821628 w 4789647"/>
              <a:gd name="connsiteY7" fmla="*/ 4436710 h 4440186"/>
              <a:gd name="connsiteX8" fmla="*/ 1792670 w 4789647"/>
              <a:gd name="connsiteY8" fmla="*/ 4434767 h 4440186"/>
              <a:gd name="connsiteX9" fmla="*/ 1763829 w 4789647"/>
              <a:gd name="connsiteY9" fmla="*/ 4432402 h 4440186"/>
              <a:gd name="connsiteX10" fmla="*/ 1735108 w 4789647"/>
              <a:gd name="connsiteY10" fmla="*/ 4429616 h 4440186"/>
              <a:gd name="connsiteX11" fmla="*/ 1706510 w 4789647"/>
              <a:gd name="connsiteY11" fmla="*/ 4426413 h 4440186"/>
              <a:gd name="connsiteX12" fmla="*/ 1678040 w 4789647"/>
              <a:gd name="connsiteY12" fmla="*/ 4422796 h 4440186"/>
              <a:gd name="connsiteX13" fmla="*/ 1649698 w 4789647"/>
              <a:gd name="connsiteY13" fmla="*/ 4418768 h 4440186"/>
              <a:gd name="connsiteX14" fmla="*/ 1621488 w 4789647"/>
              <a:gd name="connsiteY14" fmla="*/ 4414332 h 4440186"/>
              <a:gd name="connsiteX15" fmla="*/ 1593415 w 4789647"/>
              <a:gd name="connsiteY15" fmla="*/ 4409492 h 4440186"/>
              <a:gd name="connsiteX16" fmla="*/ 1565480 w 4789647"/>
              <a:gd name="connsiteY16" fmla="*/ 4404250 h 4440186"/>
              <a:gd name="connsiteX17" fmla="*/ 1537687 w 4789647"/>
              <a:gd name="connsiteY17" fmla="*/ 4398610 h 4440186"/>
              <a:gd name="connsiteX18" fmla="*/ 1510039 w 4789647"/>
              <a:gd name="connsiteY18" fmla="*/ 4392574 h 4440186"/>
              <a:gd name="connsiteX19" fmla="*/ 1482539 w 4789647"/>
              <a:gd name="connsiteY19" fmla="*/ 4386146 h 4440186"/>
              <a:gd name="connsiteX20" fmla="*/ 1455190 w 4789647"/>
              <a:gd name="connsiteY20" fmla="*/ 4379329 h 4440186"/>
              <a:gd name="connsiteX21" fmla="*/ 1427995 w 4789647"/>
              <a:gd name="connsiteY21" fmla="*/ 4372125 h 4440186"/>
              <a:gd name="connsiteX22" fmla="*/ 1400958 w 4789647"/>
              <a:gd name="connsiteY22" fmla="*/ 4364539 h 4440186"/>
              <a:gd name="connsiteX23" fmla="*/ 1374080 w 4789647"/>
              <a:gd name="connsiteY23" fmla="*/ 4356572 h 4440186"/>
              <a:gd name="connsiteX24" fmla="*/ 1347367 w 4789647"/>
              <a:gd name="connsiteY24" fmla="*/ 4348230 h 4440186"/>
              <a:gd name="connsiteX25" fmla="*/ 1320820 w 4789647"/>
              <a:gd name="connsiteY25" fmla="*/ 4339513 h 4440186"/>
              <a:gd name="connsiteX26" fmla="*/ 1294442 w 4789647"/>
              <a:gd name="connsiteY26" fmla="*/ 4330425 h 4440186"/>
              <a:gd name="connsiteX27" fmla="*/ 1268238 w 4789647"/>
              <a:gd name="connsiteY27" fmla="*/ 4320970 h 4440186"/>
              <a:gd name="connsiteX28" fmla="*/ 1242209 w 4789647"/>
              <a:gd name="connsiteY28" fmla="*/ 4311151 h 4440186"/>
              <a:gd name="connsiteX29" fmla="*/ 1216359 w 4789647"/>
              <a:gd name="connsiteY29" fmla="*/ 4300970 h 4440186"/>
              <a:gd name="connsiteX30" fmla="*/ 1190691 w 4789647"/>
              <a:gd name="connsiteY30" fmla="*/ 4290430 h 4440186"/>
              <a:gd name="connsiteX31" fmla="*/ 1165209 w 4789647"/>
              <a:gd name="connsiteY31" fmla="*/ 4279536 h 4440186"/>
              <a:gd name="connsiteX32" fmla="*/ 1139914 w 4789647"/>
              <a:gd name="connsiteY32" fmla="*/ 4268290 h 4440186"/>
              <a:gd name="connsiteX33" fmla="*/ 1114810 w 4789647"/>
              <a:gd name="connsiteY33" fmla="*/ 4256694 h 4440186"/>
              <a:gd name="connsiteX34" fmla="*/ 1089902 w 4789647"/>
              <a:gd name="connsiteY34" fmla="*/ 4244753 h 4440186"/>
              <a:gd name="connsiteX35" fmla="*/ 1065191 w 4789647"/>
              <a:gd name="connsiteY35" fmla="*/ 4232468 h 4440186"/>
              <a:gd name="connsiteX36" fmla="*/ 1040680 w 4789647"/>
              <a:gd name="connsiteY36" fmla="*/ 4219844 h 4440186"/>
              <a:gd name="connsiteX37" fmla="*/ 1016373 w 4789647"/>
              <a:gd name="connsiteY37" fmla="*/ 4206884 h 4440186"/>
              <a:gd name="connsiteX38" fmla="*/ 992272 w 4789647"/>
              <a:gd name="connsiteY38" fmla="*/ 4193589 h 4440186"/>
              <a:gd name="connsiteX39" fmla="*/ 968382 w 4789647"/>
              <a:gd name="connsiteY39" fmla="*/ 4179965 h 4440186"/>
              <a:gd name="connsiteX40" fmla="*/ 944704 w 4789647"/>
              <a:gd name="connsiteY40" fmla="*/ 4166013 h 4440186"/>
              <a:gd name="connsiteX41" fmla="*/ 921243 w 4789647"/>
              <a:gd name="connsiteY41" fmla="*/ 4151736 h 4440186"/>
              <a:gd name="connsiteX42" fmla="*/ 898000 w 4789647"/>
              <a:gd name="connsiteY42" fmla="*/ 4137139 h 4440186"/>
              <a:gd name="connsiteX43" fmla="*/ 874980 w 4789647"/>
              <a:gd name="connsiteY43" fmla="*/ 4122224 h 4440186"/>
              <a:gd name="connsiteX44" fmla="*/ 852185 w 4789647"/>
              <a:gd name="connsiteY44" fmla="*/ 4106993 h 4440186"/>
              <a:gd name="connsiteX45" fmla="*/ 829619 w 4789647"/>
              <a:gd name="connsiteY45" fmla="*/ 4091451 h 4440186"/>
              <a:gd name="connsiteX46" fmla="*/ 807284 w 4789647"/>
              <a:gd name="connsiteY46" fmla="*/ 4075600 h 4440186"/>
              <a:gd name="connsiteX47" fmla="*/ 785183 w 4789647"/>
              <a:gd name="connsiteY47" fmla="*/ 4059442 h 4440186"/>
              <a:gd name="connsiteX48" fmla="*/ 763321 w 4789647"/>
              <a:gd name="connsiteY48" fmla="*/ 4042983 h 4440186"/>
              <a:gd name="connsiteX49" fmla="*/ 741699 w 4789647"/>
              <a:gd name="connsiteY49" fmla="*/ 4026224 h 4440186"/>
              <a:gd name="connsiteX50" fmla="*/ 720321 w 4789647"/>
              <a:gd name="connsiteY50" fmla="*/ 4009168 h 4440186"/>
              <a:gd name="connsiteX51" fmla="*/ 699190 w 4789647"/>
              <a:gd name="connsiteY51" fmla="*/ 3991819 h 4440186"/>
              <a:gd name="connsiteX52" fmla="*/ 678309 w 4789647"/>
              <a:gd name="connsiteY52" fmla="*/ 3974180 h 4440186"/>
              <a:gd name="connsiteX53" fmla="*/ 657681 w 4789647"/>
              <a:gd name="connsiteY53" fmla="*/ 3956254 h 4440186"/>
              <a:gd name="connsiteX54" fmla="*/ 637309 w 4789647"/>
              <a:gd name="connsiteY54" fmla="*/ 3938043 h 4440186"/>
              <a:gd name="connsiteX55" fmla="*/ 617197 w 4789647"/>
              <a:gd name="connsiteY55" fmla="*/ 3919552 h 4440186"/>
              <a:gd name="connsiteX56" fmla="*/ 597347 w 4789647"/>
              <a:gd name="connsiteY56" fmla="*/ 3900783 h 4440186"/>
              <a:gd name="connsiteX57" fmla="*/ 577763 w 4789647"/>
              <a:gd name="connsiteY57" fmla="*/ 3881739 h 4440186"/>
              <a:gd name="connsiteX58" fmla="*/ 558447 w 4789647"/>
              <a:gd name="connsiteY58" fmla="*/ 3862423 h 4440186"/>
              <a:gd name="connsiteX59" fmla="*/ 539403 w 4789647"/>
              <a:gd name="connsiteY59" fmla="*/ 3842839 h 4440186"/>
              <a:gd name="connsiteX60" fmla="*/ 520634 w 4789647"/>
              <a:gd name="connsiteY60" fmla="*/ 3822989 h 4440186"/>
              <a:gd name="connsiteX61" fmla="*/ 502143 w 4789647"/>
              <a:gd name="connsiteY61" fmla="*/ 3802877 h 4440186"/>
              <a:gd name="connsiteX62" fmla="*/ 483932 w 4789647"/>
              <a:gd name="connsiteY62" fmla="*/ 3782505 h 4440186"/>
              <a:gd name="connsiteX63" fmla="*/ 466006 w 4789647"/>
              <a:gd name="connsiteY63" fmla="*/ 3761878 h 4440186"/>
              <a:gd name="connsiteX64" fmla="*/ 448367 w 4789647"/>
              <a:gd name="connsiteY64" fmla="*/ 3740996 h 4440186"/>
              <a:gd name="connsiteX65" fmla="*/ 431018 w 4789647"/>
              <a:gd name="connsiteY65" fmla="*/ 3719865 h 4440186"/>
              <a:gd name="connsiteX66" fmla="*/ 413962 w 4789647"/>
              <a:gd name="connsiteY66" fmla="*/ 3698487 h 4440186"/>
              <a:gd name="connsiteX67" fmla="*/ 397204 w 4789647"/>
              <a:gd name="connsiteY67" fmla="*/ 3676865 h 4440186"/>
              <a:gd name="connsiteX68" fmla="*/ 380744 w 4789647"/>
              <a:gd name="connsiteY68" fmla="*/ 3655003 h 4440186"/>
              <a:gd name="connsiteX69" fmla="*/ 364587 w 4789647"/>
              <a:gd name="connsiteY69" fmla="*/ 3632902 h 4440186"/>
              <a:gd name="connsiteX70" fmla="*/ 348735 w 4789647"/>
              <a:gd name="connsiteY70" fmla="*/ 3610567 h 4440186"/>
              <a:gd name="connsiteX71" fmla="*/ 333193 w 4789647"/>
              <a:gd name="connsiteY71" fmla="*/ 3588001 h 4440186"/>
              <a:gd name="connsiteX72" fmla="*/ 317962 w 4789647"/>
              <a:gd name="connsiteY72" fmla="*/ 3565206 h 4440186"/>
              <a:gd name="connsiteX73" fmla="*/ 303047 w 4789647"/>
              <a:gd name="connsiteY73" fmla="*/ 3542186 h 4440186"/>
              <a:gd name="connsiteX74" fmla="*/ 288450 w 4789647"/>
              <a:gd name="connsiteY74" fmla="*/ 3518943 h 4440186"/>
              <a:gd name="connsiteX75" fmla="*/ 274174 w 4789647"/>
              <a:gd name="connsiteY75" fmla="*/ 3495482 h 4440186"/>
              <a:gd name="connsiteX76" fmla="*/ 260221 w 4789647"/>
              <a:gd name="connsiteY76" fmla="*/ 3471805 h 4440186"/>
              <a:gd name="connsiteX77" fmla="*/ 246597 w 4789647"/>
              <a:gd name="connsiteY77" fmla="*/ 3447914 h 4440186"/>
              <a:gd name="connsiteX78" fmla="*/ 233302 w 4789647"/>
              <a:gd name="connsiteY78" fmla="*/ 3423814 h 4440186"/>
              <a:gd name="connsiteX79" fmla="*/ 220342 w 4789647"/>
              <a:gd name="connsiteY79" fmla="*/ 3399507 h 4440186"/>
              <a:gd name="connsiteX80" fmla="*/ 207718 w 4789647"/>
              <a:gd name="connsiteY80" fmla="*/ 3374996 h 4440186"/>
              <a:gd name="connsiteX81" fmla="*/ 195434 w 4789647"/>
              <a:gd name="connsiteY81" fmla="*/ 3350284 h 4440186"/>
              <a:gd name="connsiteX82" fmla="*/ 183492 w 4789647"/>
              <a:gd name="connsiteY82" fmla="*/ 3325376 h 4440186"/>
              <a:gd name="connsiteX83" fmla="*/ 171897 w 4789647"/>
              <a:gd name="connsiteY83" fmla="*/ 3300272 h 4440186"/>
              <a:gd name="connsiteX84" fmla="*/ 160650 w 4789647"/>
              <a:gd name="connsiteY84" fmla="*/ 3274978 h 4440186"/>
              <a:gd name="connsiteX85" fmla="*/ 149756 w 4789647"/>
              <a:gd name="connsiteY85" fmla="*/ 3249495 h 4440186"/>
              <a:gd name="connsiteX86" fmla="*/ 139216 w 4789647"/>
              <a:gd name="connsiteY86" fmla="*/ 3223827 h 4440186"/>
              <a:gd name="connsiteX87" fmla="*/ 129036 w 4789647"/>
              <a:gd name="connsiteY87" fmla="*/ 3197977 h 4440186"/>
              <a:gd name="connsiteX88" fmla="*/ 119216 w 4789647"/>
              <a:gd name="connsiteY88" fmla="*/ 3171948 h 4440186"/>
              <a:gd name="connsiteX89" fmla="*/ 109761 w 4789647"/>
              <a:gd name="connsiteY89" fmla="*/ 3145743 h 4440186"/>
              <a:gd name="connsiteX90" fmla="*/ 100673 w 4789647"/>
              <a:gd name="connsiteY90" fmla="*/ 3119366 h 4440186"/>
              <a:gd name="connsiteX91" fmla="*/ 91957 w 4789647"/>
              <a:gd name="connsiteY91" fmla="*/ 3092819 h 4440186"/>
              <a:gd name="connsiteX92" fmla="*/ 83614 w 4789647"/>
              <a:gd name="connsiteY92" fmla="*/ 3066105 h 4440186"/>
              <a:gd name="connsiteX93" fmla="*/ 75648 w 4789647"/>
              <a:gd name="connsiteY93" fmla="*/ 3039228 h 4440186"/>
              <a:gd name="connsiteX94" fmla="*/ 68061 w 4789647"/>
              <a:gd name="connsiteY94" fmla="*/ 3012191 h 4440186"/>
              <a:gd name="connsiteX95" fmla="*/ 60858 w 4789647"/>
              <a:gd name="connsiteY95" fmla="*/ 2984996 h 4440186"/>
              <a:gd name="connsiteX96" fmla="*/ 54040 w 4789647"/>
              <a:gd name="connsiteY96" fmla="*/ 2957647 h 4440186"/>
              <a:gd name="connsiteX97" fmla="*/ 47612 w 4789647"/>
              <a:gd name="connsiteY97" fmla="*/ 2930147 h 4440186"/>
              <a:gd name="connsiteX98" fmla="*/ 41577 w 4789647"/>
              <a:gd name="connsiteY98" fmla="*/ 2902499 h 4440186"/>
              <a:gd name="connsiteX99" fmla="*/ 35936 w 4789647"/>
              <a:gd name="connsiteY99" fmla="*/ 2874706 h 4440186"/>
              <a:gd name="connsiteX100" fmla="*/ 30694 w 4789647"/>
              <a:gd name="connsiteY100" fmla="*/ 2846771 h 4440186"/>
              <a:gd name="connsiteX101" fmla="*/ 25854 w 4789647"/>
              <a:gd name="connsiteY101" fmla="*/ 2818697 h 4440186"/>
              <a:gd name="connsiteX102" fmla="*/ 21419 w 4789647"/>
              <a:gd name="connsiteY102" fmla="*/ 2790489 h 4440186"/>
              <a:gd name="connsiteX103" fmla="*/ 17391 w 4789647"/>
              <a:gd name="connsiteY103" fmla="*/ 2762147 h 4440186"/>
              <a:gd name="connsiteX104" fmla="*/ 13774 w 4789647"/>
              <a:gd name="connsiteY104" fmla="*/ 2733675 h 4440186"/>
              <a:gd name="connsiteX105" fmla="*/ 10571 w 4789647"/>
              <a:gd name="connsiteY105" fmla="*/ 2705078 h 4440186"/>
              <a:gd name="connsiteX106" fmla="*/ 7785 w 4789647"/>
              <a:gd name="connsiteY106" fmla="*/ 2676357 h 4440186"/>
              <a:gd name="connsiteX107" fmla="*/ 5419 w 4789647"/>
              <a:gd name="connsiteY107" fmla="*/ 2647516 h 4440186"/>
              <a:gd name="connsiteX108" fmla="*/ 3476 w 4789647"/>
              <a:gd name="connsiteY108" fmla="*/ 2618558 h 4440186"/>
              <a:gd name="connsiteX109" fmla="*/ 1960 w 4789647"/>
              <a:gd name="connsiteY109" fmla="*/ 2589486 h 4440186"/>
              <a:gd name="connsiteX110" fmla="*/ 873 w 4789647"/>
              <a:gd name="connsiteY110" fmla="*/ 2560303 h 4440186"/>
              <a:gd name="connsiteX111" fmla="*/ 219 w 4789647"/>
              <a:gd name="connsiteY111" fmla="*/ 2531012 h 4440186"/>
              <a:gd name="connsiteX112" fmla="*/ 0 w 4789647"/>
              <a:gd name="connsiteY112" fmla="*/ 2501616 h 44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789647" h="4440186">
                <a:moveTo>
                  <a:pt x="0" y="0"/>
                </a:moveTo>
                <a:lnTo>
                  <a:pt x="4789647" y="0"/>
                </a:lnTo>
                <a:lnTo>
                  <a:pt x="4789647" y="4440186"/>
                </a:lnTo>
                <a:lnTo>
                  <a:pt x="1938570" y="4440186"/>
                </a:lnTo>
                <a:lnTo>
                  <a:pt x="1909174" y="4439968"/>
                </a:lnTo>
                <a:lnTo>
                  <a:pt x="1879884" y="4439313"/>
                </a:lnTo>
                <a:lnTo>
                  <a:pt x="1850700" y="4438226"/>
                </a:lnTo>
                <a:lnTo>
                  <a:pt x="1821628" y="4436710"/>
                </a:lnTo>
                <a:lnTo>
                  <a:pt x="1792670" y="4434767"/>
                </a:lnTo>
                <a:lnTo>
                  <a:pt x="1763829" y="4432402"/>
                </a:lnTo>
                <a:lnTo>
                  <a:pt x="1735108" y="4429616"/>
                </a:lnTo>
                <a:lnTo>
                  <a:pt x="1706510" y="4426413"/>
                </a:lnTo>
                <a:lnTo>
                  <a:pt x="1678040" y="4422796"/>
                </a:lnTo>
                <a:lnTo>
                  <a:pt x="1649698" y="4418768"/>
                </a:lnTo>
                <a:lnTo>
                  <a:pt x="1621488" y="4414332"/>
                </a:lnTo>
                <a:lnTo>
                  <a:pt x="1593415" y="4409492"/>
                </a:lnTo>
                <a:lnTo>
                  <a:pt x="1565480" y="4404250"/>
                </a:lnTo>
                <a:lnTo>
                  <a:pt x="1537687" y="4398610"/>
                </a:lnTo>
                <a:lnTo>
                  <a:pt x="1510039" y="4392574"/>
                </a:lnTo>
                <a:lnTo>
                  <a:pt x="1482539" y="4386146"/>
                </a:lnTo>
                <a:lnTo>
                  <a:pt x="1455190" y="4379329"/>
                </a:lnTo>
                <a:lnTo>
                  <a:pt x="1427995" y="4372125"/>
                </a:lnTo>
                <a:lnTo>
                  <a:pt x="1400958" y="4364539"/>
                </a:lnTo>
                <a:lnTo>
                  <a:pt x="1374080" y="4356572"/>
                </a:lnTo>
                <a:lnTo>
                  <a:pt x="1347367" y="4348230"/>
                </a:lnTo>
                <a:lnTo>
                  <a:pt x="1320820" y="4339513"/>
                </a:lnTo>
                <a:lnTo>
                  <a:pt x="1294442" y="4330425"/>
                </a:lnTo>
                <a:lnTo>
                  <a:pt x="1268238" y="4320970"/>
                </a:lnTo>
                <a:lnTo>
                  <a:pt x="1242209" y="4311151"/>
                </a:lnTo>
                <a:lnTo>
                  <a:pt x="1216359" y="4300970"/>
                </a:lnTo>
                <a:lnTo>
                  <a:pt x="1190691" y="4290430"/>
                </a:lnTo>
                <a:lnTo>
                  <a:pt x="1165209" y="4279536"/>
                </a:lnTo>
                <a:lnTo>
                  <a:pt x="1139914" y="4268290"/>
                </a:lnTo>
                <a:lnTo>
                  <a:pt x="1114810" y="4256694"/>
                </a:lnTo>
                <a:lnTo>
                  <a:pt x="1089902" y="4244753"/>
                </a:lnTo>
                <a:lnTo>
                  <a:pt x="1065191" y="4232468"/>
                </a:lnTo>
                <a:lnTo>
                  <a:pt x="1040680" y="4219844"/>
                </a:lnTo>
                <a:lnTo>
                  <a:pt x="1016373" y="4206884"/>
                </a:lnTo>
                <a:lnTo>
                  <a:pt x="992272" y="4193589"/>
                </a:lnTo>
                <a:lnTo>
                  <a:pt x="968382" y="4179965"/>
                </a:lnTo>
                <a:lnTo>
                  <a:pt x="944704" y="4166013"/>
                </a:lnTo>
                <a:lnTo>
                  <a:pt x="921243" y="4151736"/>
                </a:lnTo>
                <a:lnTo>
                  <a:pt x="898000" y="4137139"/>
                </a:lnTo>
                <a:lnTo>
                  <a:pt x="874980" y="4122224"/>
                </a:lnTo>
                <a:lnTo>
                  <a:pt x="852185" y="4106993"/>
                </a:lnTo>
                <a:lnTo>
                  <a:pt x="829619" y="4091451"/>
                </a:lnTo>
                <a:lnTo>
                  <a:pt x="807284" y="4075600"/>
                </a:lnTo>
                <a:lnTo>
                  <a:pt x="785183" y="4059442"/>
                </a:lnTo>
                <a:lnTo>
                  <a:pt x="763321" y="4042983"/>
                </a:lnTo>
                <a:lnTo>
                  <a:pt x="741699" y="4026224"/>
                </a:lnTo>
                <a:lnTo>
                  <a:pt x="720321" y="4009168"/>
                </a:lnTo>
                <a:lnTo>
                  <a:pt x="699190" y="3991819"/>
                </a:lnTo>
                <a:lnTo>
                  <a:pt x="678309" y="3974180"/>
                </a:lnTo>
                <a:lnTo>
                  <a:pt x="657681" y="3956254"/>
                </a:lnTo>
                <a:lnTo>
                  <a:pt x="637309" y="3938043"/>
                </a:lnTo>
                <a:lnTo>
                  <a:pt x="617197" y="3919552"/>
                </a:lnTo>
                <a:lnTo>
                  <a:pt x="597347" y="3900783"/>
                </a:lnTo>
                <a:lnTo>
                  <a:pt x="577763" y="3881739"/>
                </a:lnTo>
                <a:lnTo>
                  <a:pt x="558447" y="3862423"/>
                </a:lnTo>
                <a:lnTo>
                  <a:pt x="539403" y="3842839"/>
                </a:lnTo>
                <a:lnTo>
                  <a:pt x="520634" y="3822989"/>
                </a:lnTo>
                <a:lnTo>
                  <a:pt x="502143" y="3802877"/>
                </a:lnTo>
                <a:lnTo>
                  <a:pt x="483932" y="3782505"/>
                </a:lnTo>
                <a:lnTo>
                  <a:pt x="466006" y="3761878"/>
                </a:lnTo>
                <a:lnTo>
                  <a:pt x="448367" y="3740996"/>
                </a:lnTo>
                <a:lnTo>
                  <a:pt x="431018" y="3719865"/>
                </a:lnTo>
                <a:lnTo>
                  <a:pt x="413962" y="3698487"/>
                </a:lnTo>
                <a:lnTo>
                  <a:pt x="397204" y="3676865"/>
                </a:lnTo>
                <a:lnTo>
                  <a:pt x="380744" y="3655003"/>
                </a:lnTo>
                <a:lnTo>
                  <a:pt x="364587" y="3632902"/>
                </a:lnTo>
                <a:lnTo>
                  <a:pt x="348735" y="3610567"/>
                </a:lnTo>
                <a:lnTo>
                  <a:pt x="333193" y="3588001"/>
                </a:lnTo>
                <a:lnTo>
                  <a:pt x="317962" y="3565206"/>
                </a:lnTo>
                <a:lnTo>
                  <a:pt x="303047" y="3542186"/>
                </a:lnTo>
                <a:lnTo>
                  <a:pt x="288450" y="3518943"/>
                </a:lnTo>
                <a:lnTo>
                  <a:pt x="274174" y="3495482"/>
                </a:lnTo>
                <a:lnTo>
                  <a:pt x="260221" y="3471805"/>
                </a:lnTo>
                <a:lnTo>
                  <a:pt x="246597" y="3447914"/>
                </a:lnTo>
                <a:lnTo>
                  <a:pt x="233302" y="3423814"/>
                </a:lnTo>
                <a:lnTo>
                  <a:pt x="220342" y="3399507"/>
                </a:lnTo>
                <a:lnTo>
                  <a:pt x="207718" y="3374996"/>
                </a:lnTo>
                <a:lnTo>
                  <a:pt x="195434" y="3350284"/>
                </a:lnTo>
                <a:lnTo>
                  <a:pt x="183492" y="3325376"/>
                </a:lnTo>
                <a:lnTo>
                  <a:pt x="171897" y="3300272"/>
                </a:lnTo>
                <a:lnTo>
                  <a:pt x="160650" y="3274978"/>
                </a:lnTo>
                <a:lnTo>
                  <a:pt x="149756" y="3249495"/>
                </a:lnTo>
                <a:lnTo>
                  <a:pt x="139216" y="3223827"/>
                </a:lnTo>
                <a:lnTo>
                  <a:pt x="129036" y="3197977"/>
                </a:lnTo>
                <a:lnTo>
                  <a:pt x="119216" y="3171948"/>
                </a:lnTo>
                <a:lnTo>
                  <a:pt x="109761" y="3145743"/>
                </a:lnTo>
                <a:lnTo>
                  <a:pt x="100673" y="3119366"/>
                </a:lnTo>
                <a:lnTo>
                  <a:pt x="91957" y="3092819"/>
                </a:lnTo>
                <a:lnTo>
                  <a:pt x="83614" y="3066105"/>
                </a:lnTo>
                <a:lnTo>
                  <a:pt x="75648" y="3039228"/>
                </a:lnTo>
                <a:lnTo>
                  <a:pt x="68061" y="3012191"/>
                </a:lnTo>
                <a:lnTo>
                  <a:pt x="60858" y="2984996"/>
                </a:lnTo>
                <a:lnTo>
                  <a:pt x="54040" y="2957647"/>
                </a:lnTo>
                <a:lnTo>
                  <a:pt x="47612" y="2930147"/>
                </a:lnTo>
                <a:lnTo>
                  <a:pt x="41577" y="2902499"/>
                </a:lnTo>
                <a:lnTo>
                  <a:pt x="35936" y="2874706"/>
                </a:lnTo>
                <a:lnTo>
                  <a:pt x="30694" y="2846771"/>
                </a:lnTo>
                <a:lnTo>
                  <a:pt x="25854" y="2818697"/>
                </a:lnTo>
                <a:lnTo>
                  <a:pt x="21419" y="2790489"/>
                </a:lnTo>
                <a:lnTo>
                  <a:pt x="17391" y="2762147"/>
                </a:lnTo>
                <a:lnTo>
                  <a:pt x="13774" y="2733675"/>
                </a:lnTo>
                <a:lnTo>
                  <a:pt x="10571" y="2705078"/>
                </a:lnTo>
                <a:lnTo>
                  <a:pt x="7785" y="2676357"/>
                </a:lnTo>
                <a:lnTo>
                  <a:pt x="5419" y="2647516"/>
                </a:lnTo>
                <a:lnTo>
                  <a:pt x="3476" y="2618558"/>
                </a:lnTo>
                <a:lnTo>
                  <a:pt x="1960" y="2589486"/>
                </a:lnTo>
                <a:lnTo>
                  <a:pt x="873" y="2560303"/>
                </a:lnTo>
                <a:lnTo>
                  <a:pt x="219" y="2531012"/>
                </a:lnTo>
                <a:lnTo>
                  <a:pt x="0" y="2501616"/>
                </a:lnTo>
                <a:close/>
              </a:path>
            </a:pathLst>
          </a:custGeom>
          <a:noFill/>
        </p:spPr>
      </p:pic>
      <p:sp>
        <p:nvSpPr>
          <p:cNvPr id="2" name="TextBox 1">
            <a:extLst>
              <a:ext uri="{FF2B5EF4-FFF2-40B4-BE49-F238E27FC236}">
                <a16:creationId xmlns:a16="http://schemas.microsoft.com/office/drawing/2014/main" id="{E57D0D9C-1045-439D-B7A5-2B19CAF5A0EF}"/>
              </a:ext>
            </a:extLst>
          </p:cNvPr>
          <p:cNvSpPr txBox="1"/>
          <p:nvPr/>
        </p:nvSpPr>
        <p:spPr>
          <a:xfrm>
            <a:off x="650881" y="5445860"/>
            <a:ext cx="1757039" cy="475373"/>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p>
            <a:pPr algn="l"/>
            <a:r>
              <a:rPr lang="en-CA" sz="3600" b="1" dirty="0">
                <a:solidFill>
                  <a:schemeClr val="tx2"/>
                </a:solidFill>
              </a:rPr>
              <a:t>VIDEO</a:t>
            </a:r>
          </a:p>
        </p:txBody>
      </p:sp>
      <p:sp>
        <p:nvSpPr>
          <p:cNvPr id="12" name="Bildplatzhalter 19">
            <a:extLst>
              <a:ext uri="{FF2B5EF4-FFF2-40B4-BE49-F238E27FC236}">
                <a16:creationId xmlns:a16="http://schemas.microsoft.com/office/drawing/2014/main" id="{D8DD811D-26E2-4E82-9365-4DCAB77ACCCE}"/>
              </a:ext>
            </a:extLst>
          </p:cNvPr>
          <p:cNvSpPr txBox="1">
            <a:spLocks/>
          </p:cNvSpPr>
          <p:nvPr/>
        </p:nvSpPr>
        <p:spPr bwMode="gray">
          <a:xfrm>
            <a:off x="1177914" y="6562906"/>
            <a:ext cx="1062384" cy="103295"/>
          </a:xfrm>
          <a:prstGeom prst="rect">
            <a:avLst/>
          </a:prstGeom>
          <a:blipFill>
            <a:blip r:embed="rId3" cstate="hqprint">
              <a:extLst>
                <a:ext uri="{28A0092B-C50C-407E-A947-70E740481C1C}">
                  <a14:useLocalDpi xmlns:a14="http://schemas.microsoft.com/office/drawing/2010/main"/>
                </a:ext>
              </a:extLst>
            </a:blip>
            <a:stretch>
              <a:fillRect/>
            </a:stretch>
          </a:blipFill>
        </p:spPr>
        <p:txBody>
          <a:bodyPr vert="horz" lIns="0" tIns="0" rIns="0" bIns="0" rtlCol="0">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8" name="Text Placeholder 7">
            <a:extLst>
              <a:ext uri="{FF2B5EF4-FFF2-40B4-BE49-F238E27FC236}">
                <a16:creationId xmlns:a16="http://schemas.microsoft.com/office/drawing/2014/main" id="{17EB3CD8-3C28-40F0-8BE3-EFD933F31944}"/>
              </a:ext>
            </a:extLst>
          </p:cNvPr>
          <p:cNvSpPr txBox="1">
            <a:spLocks noChangeAspect="1"/>
          </p:cNvSpPr>
          <p:nvPr/>
        </p:nvSpPr>
        <p:spPr>
          <a:xfrm>
            <a:off x="11675400" y="6354100"/>
            <a:ext cx="288000" cy="288000"/>
          </a:xfrm>
          <a:prstGeom prst="rect">
            <a:avLst/>
          </a:prstGeom>
          <a:blipFill>
            <a:blip r:embed="rId4"/>
            <a:stretch>
              <a:fillRect/>
            </a:stretch>
          </a:blipFill>
        </p:spPr>
        <p:txBody>
          <a:bodyPr vert="horz" lIns="0" tIns="0" rIns="0" bIns="0" rtlCol="0">
            <a:noAutofit/>
          </a:bodyPr>
          <a:lstStyle>
            <a:lvl1pPr marL="0" indent="0" algn="l" defTabSz="914400" rtl="0" eaLnBrk="1" latinLnBrk="0" hangingPunct="1">
              <a:lnSpc>
                <a:spcPct val="120000"/>
              </a:lnSpc>
              <a:spcBef>
                <a:spcPts val="1000"/>
              </a:spcBef>
              <a:buFontTx/>
              <a:buNone/>
              <a:defRPr sz="1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Arial"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Arial"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 </a:t>
            </a:r>
            <a:endParaRPr lang="en-US" dirty="0"/>
          </a:p>
        </p:txBody>
      </p:sp>
    </p:spTree>
    <p:extLst>
      <p:ext uri="{BB962C8B-B14F-4D97-AF65-F5344CB8AC3E}">
        <p14:creationId xmlns:p14="http://schemas.microsoft.com/office/powerpoint/2010/main" val="2988797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A9A8F3-55FE-2FB6-DD10-5403F24B24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ct 3" hidden="1">
                        <a:extLst>
                          <a:ext uri="{FF2B5EF4-FFF2-40B4-BE49-F238E27FC236}">
                            <a16:creationId xmlns:a16="http://schemas.microsoft.com/office/drawing/2014/main" id="{DEA9A8F3-55FE-2FB6-DD10-5403F24B24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5F6FC2-B15A-0D1F-046E-3EB79D210D37}"/>
              </a:ext>
            </a:extLst>
          </p:cNvPr>
          <p:cNvSpPr>
            <a:spLocks noGrp="1"/>
          </p:cNvSpPr>
          <p:nvPr>
            <p:ph type="title"/>
          </p:nvPr>
        </p:nvSpPr>
        <p:spPr>
          <a:xfrm>
            <a:off x="386459" y="579647"/>
            <a:ext cx="11419082" cy="283219"/>
          </a:xfrm>
        </p:spPr>
        <p:txBody>
          <a:bodyPr vert="horz"/>
          <a:lstStyle/>
          <a:p>
            <a:r>
              <a:rPr lang="en-US" dirty="0"/>
              <a:t>Process Overview</a:t>
            </a:r>
          </a:p>
        </p:txBody>
      </p:sp>
      <p:sp>
        <p:nvSpPr>
          <p:cNvPr id="22" name="Text Placeholder 21">
            <a:extLst>
              <a:ext uri="{FF2B5EF4-FFF2-40B4-BE49-F238E27FC236}">
                <a16:creationId xmlns:a16="http://schemas.microsoft.com/office/drawing/2014/main" id="{5CD174DC-4477-5C42-09C3-D8C22BCAC3E6}"/>
              </a:ext>
            </a:extLst>
          </p:cNvPr>
          <p:cNvSpPr>
            <a:spLocks noGrp="1"/>
          </p:cNvSpPr>
          <p:nvPr>
            <p:ph type="body" sz="quarter" idx="14"/>
          </p:nvPr>
        </p:nvSpPr>
        <p:spPr/>
        <p:txBody>
          <a:bodyPr/>
          <a:lstStyle/>
          <a:p>
            <a:r>
              <a:rPr lang="en-US" dirty="0"/>
              <a:t>Edmonton CCUS Project</a:t>
            </a:r>
          </a:p>
        </p:txBody>
      </p:sp>
      <p:sp>
        <p:nvSpPr>
          <p:cNvPr id="29" name="Slide Number Placeholder 28">
            <a:extLst>
              <a:ext uri="{FF2B5EF4-FFF2-40B4-BE49-F238E27FC236}">
                <a16:creationId xmlns:a16="http://schemas.microsoft.com/office/drawing/2014/main" id="{6FE4A802-EBCF-22F8-F68A-4AED2B3A1D2A}"/>
              </a:ext>
            </a:extLst>
          </p:cNvPr>
          <p:cNvSpPr>
            <a:spLocks noGrp="1"/>
          </p:cNvSpPr>
          <p:nvPr>
            <p:ph type="sldNum" sz="quarter" idx="17"/>
          </p:nvPr>
        </p:nvSpPr>
        <p:spPr/>
        <p:txBody>
          <a:bodyPr/>
          <a:lstStyle/>
          <a:p>
            <a:fld id="{A115CDC9-74CB-4F6C-8CD3-A6C89F254EE7}" type="slidenum">
              <a:rPr lang="en-US" smtClean="0"/>
              <a:pPr/>
              <a:t>14</a:t>
            </a:fld>
            <a:endParaRPr lang="en-US" dirty="0"/>
          </a:p>
        </p:txBody>
      </p:sp>
      <p:sp>
        <p:nvSpPr>
          <p:cNvPr id="6" name="Textplatzhalter 29">
            <a:extLst>
              <a:ext uri="{FF2B5EF4-FFF2-40B4-BE49-F238E27FC236}">
                <a16:creationId xmlns:a16="http://schemas.microsoft.com/office/drawing/2014/main" id="{F11B1FED-EE8F-4756-88AC-248EBABBE3BE}"/>
              </a:ext>
            </a:extLst>
          </p:cNvPr>
          <p:cNvSpPr txBox="1">
            <a:spLocks/>
          </p:cNvSpPr>
          <p:nvPr/>
        </p:nvSpPr>
        <p:spPr>
          <a:xfrm>
            <a:off x="2697480" y="6028434"/>
            <a:ext cx="6477000" cy="499838"/>
          </a:xfrm>
          <a:prstGeom prst="rect">
            <a:avLst/>
          </a:prstGeom>
          <a:solidFill>
            <a:schemeClr val="tx2">
              <a:alpha val="80000"/>
            </a:schemeClr>
          </a:solidFill>
        </p:spPr>
        <p:txBody>
          <a:bodyPr vert="horz" wrap="square" lIns="174161" tIns="43540" rIns="174161" bIns="43540" rtlCol="0">
            <a:spAutoFit/>
          </a:bodyPr>
          <a:lstStyle>
            <a:lvl1pPr indent="0" defTabSz="753557">
              <a:lnSpc>
                <a:spcPts val="1600"/>
              </a:lnSpc>
              <a:spcBef>
                <a:spcPts val="0"/>
              </a:spcBef>
              <a:spcAft>
                <a:spcPts val="0"/>
              </a:spcAft>
              <a:buFontTx/>
              <a:buNone/>
              <a:defRPr kumimoji="0" lang="en-US" sz="1400" b="1" i="0" u="none" strike="noStrike" cap="none" spc="0" normalizeH="0" baseline="0" noProof="0">
                <a:ln>
                  <a:noFill/>
                </a:ln>
                <a:solidFill>
                  <a:schemeClr val="bg1"/>
                </a:solidFill>
                <a:effectLst/>
                <a:uLnTx/>
                <a:uFillTx/>
                <a:latin typeface="Calibri" panose="020F0502020204030204" pitchFamily="34" charset="0"/>
                <a:cs typeface="Calibri" panose="020F0502020204030204" pitchFamily="34" charset="0"/>
              </a:defRPr>
            </a:lvl1pPr>
            <a:lvl2pPr marL="0" lvl="1" indent="0" algn="ctr" defTabSz="753557">
              <a:lnSpc>
                <a:spcPct val="100000"/>
              </a:lnSpc>
              <a:spcBef>
                <a:spcPts val="0"/>
              </a:spcBef>
              <a:spcAft>
                <a:spcPts val="0"/>
              </a:spcAft>
              <a:buFontTx/>
              <a:buNone/>
              <a:defRPr sz="1400" b="1" baseline="0">
                <a:solidFill>
                  <a:schemeClr val="bg1"/>
                </a:solidFill>
                <a:cs typeface="Calibri" panose="020F0502020204030204" pitchFamily="34" charset="0"/>
              </a:defRPr>
            </a:lvl2pPr>
            <a:lvl3pPr marL="288000" indent="-144000" defTabSz="753557">
              <a:lnSpc>
                <a:spcPts val="2200"/>
              </a:lnSpc>
              <a:spcBef>
                <a:spcPts val="0"/>
              </a:spcBef>
              <a:spcAft>
                <a:spcPts val="600"/>
              </a:spcAft>
              <a:buClr>
                <a:schemeClr val="tx2"/>
              </a:buClr>
              <a:buFont typeface="Calibri Light" panose="020F0302020204030204" pitchFamily="34" charset="0"/>
              <a:buChar char="‒"/>
              <a:defRPr sz="2200" baseline="0">
                <a:solidFill>
                  <a:schemeClr val="bg1"/>
                </a:solidFill>
                <a:latin typeface="Calibri" panose="020F0502020204030204" pitchFamily="34" charset="0"/>
                <a:cs typeface="Calibri" panose="020F0502020204030204" pitchFamily="34" charset="0"/>
              </a:defRPr>
            </a:lvl3pPr>
            <a:lvl4pPr marL="432000" indent="-144000" defTabSz="753557">
              <a:lnSpc>
                <a:spcPts val="2200"/>
              </a:lnSpc>
              <a:spcBef>
                <a:spcPts val="0"/>
              </a:spcBef>
              <a:spcAft>
                <a:spcPts val="600"/>
              </a:spcAft>
              <a:buClr>
                <a:schemeClr val="accent3"/>
              </a:buClr>
              <a:buFont typeface="Calibri Light" panose="020F0302020204030204" pitchFamily="34" charset="0"/>
              <a:buChar char="‒"/>
              <a:defRPr sz="2200" baseline="0">
                <a:solidFill>
                  <a:schemeClr val="bg1"/>
                </a:solidFill>
                <a:latin typeface="Calibri" panose="020F0502020204030204" pitchFamily="34" charset="0"/>
                <a:cs typeface="Calibri" panose="020F0502020204030204" pitchFamily="34" charset="0"/>
              </a:defRPr>
            </a:lvl4pPr>
            <a:lvl5pPr marL="576000" indent="-144000" defTabSz="753557">
              <a:lnSpc>
                <a:spcPts val="2200"/>
              </a:lnSpc>
              <a:spcBef>
                <a:spcPts val="0"/>
              </a:spcBef>
              <a:spcAft>
                <a:spcPts val="600"/>
              </a:spcAft>
              <a:buFont typeface="Calibri Light" panose="020F0302020204030204" pitchFamily="34" charset="0"/>
              <a:buChar char="‒"/>
              <a:defRPr sz="2200">
                <a:solidFill>
                  <a:schemeClr val="bg1"/>
                </a:solidFill>
                <a:latin typeface="Calibri" panose="020F0502020204030204" pitchFamily="34" charset="0"/>
                <a:cs typeface="Calibri" panose="020F0502020204030204" pitchFamily="34" charset="0"/>
              </a:defRPr>
            </a:lvl5pPr>
            <a:lvl6pPr marL="576000" indent="-144000" defTabSz="753557">
              <a:lnSpc>
                <a:spcPts val="1600"/>
              </a:lnSpc>
              <a:spcBef>
                <a:spcPts val="0"/>
              </a:spcBef>
              <a:spcAft>
                <a:spcPts val="600"/>
              </a:spcAft>
              <a:buFont typeface="Calibri Light" panose="020F0302020204030204" pitchFamily="34" charset="0"/>
              <a:buChar char="‒"/>
              <a:defRPr sz="1400"/>
            </a:lvl6pPr>
            <a:lvl7pPr marL="576000" indent="-144000" defTabSz="753557">
              <a:lnSpc>
                <a:spcPts val="1600"/>
              </a:lnSpc>
              <a:spcBef>
                <a:spcPts val="0"/>
              </a:spcBef>
              <a:spcAft>
                <a:spcPts val="600"/>
              </a:spcAft>
              <a:buFont typeface="Calibri Light" panose="020F0302020204030204" pitchFamily="34" charset="0"/>
              <a:buChar char="‒"/>
              <a:defRPr sz="1400"/>
            </a:lvl7pPr>
            <a:lvl8pPr marL="576000" indent="-144000" defTabSz="753557">
              <a:lnSpc>
                <a:spcPts val="1600"/>
              </a:lnSpc>
              <a:spcBef>
                <a:spcPts val="0"/>
              </a:spcBef>
              <a:spcAft>
                <a:spcPts val="600"/>
              </a:spcAft>
              <a:buFont typeface="Calibri Light" panose="020F0302020204030204" pitchFamily="34" charset="0"/>
              <a:buChar char="‒"/>
              <a:defRPr sz="1400"/>
            </a:lvl8pPr>
            <a:lvl9pPr marL="576000" indent="-144000" defTabSz="753557">
              <a:lnSpc>
                <a:spcPts val="1600"/>
              </a:lnSpc>
              <a:spcBef>
                <a:spcPts val="0"/>
              </a:spcBef>
              <a:spcAft>
                <a:spcPts val="600"/>
              </a:spcAft>
              <a:buFont typeface="Calibri Light" panose="020F0302020204030204" pitchFamily="34" charset="0"/>
              <a:buChar char="‒"/>
              <a:defRPr sz="1400"/>
            </a:lvl9pPr>
          </a:lstStyle>
          <a:p>
            <a:pPr algn="ctr"/>
            <a:r>
              <a:rPr lang="en-CA" dirty="0">
                <a:latin typeface="+mj-lt"/>
              </a:rPr>
              <a:t>Innovative Project - Combines Cement and Clean Power with Emissions Reductions</a:t>
            </a:r>
          </a:p>
        </p:txBody>
      </p:sp>
      <p:pic>
        <p:nvPicPr>
          <p:cNvPr id="8" name="Picture 7">
            <a:extLst>
              <a:ext uri="{FF2B5EF4-FFF2-40B4-BE49-F238E27FC236}">
                <a16:creationId xmlns:a16="http://schemas.microsoft.com/office/drawing/2014/main" id="{7F170D01-A66F-522C-F2EC-1B80C243C972}"/>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1362085" y="682285"/>
            <a:ext cx="9460088" cy="5342061"/>
          </a:xfrm>
          <a:prstGeom prst="rect">
            <a:avLst/>
          </a:prstGeom>
        </p:spPr>
      </p:pic>
    </p:spTree>
    <p:extLst>
      <p:ext uri="{BB962C8B-B14F-4D97-AF65-F5344CB8AC3E}">
        <p14:creationId xmlns:p14="http://schemas.microsoft.com/office/powerpoint/2010/main" val="52489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AC92F7-784D-7FC9-223D-27BC0945F932}"/>
              </a:ext>
            </a:extLst>
          </p:cNvPr>
          <p:cNvPicPr>
            <a:picLocks noChangeAspect="1"/>
          </p:cNvPicPr>
          <p:nvPr/>
        </p:nvPicPr>
        <p:blipFill>
          <a:blip r:embed="rId3" cstate="screen">
            <a:extLst>
              <a:ext uri="{28A0092B-C50C-407E-A947-70E740481C1C}">
                <a14:useLocalDpi xmlns:a14="http://schemas.microsoft.com/office/drawing/2010/main" val="0"/>
              </a:ext>
            </a:extLst>
          </a:blip>
          <a:srcRect t="1954" b="1954"/>
          <a:stretch/>
        </p:blipFill>
        <p:spPr>
          <a:xfrm>
            <a:off x="301407" y="259519"/>
            <a:ext cx="11610274" cy="6111958"/>
          </a:xfrm>
          <a:prstGeom prst="rect">
            <a:avLst/>
          </a:prstGeom>
        </p:spPr>
      </p:pic>
      <p:sp>
        <p:nvSpPr>
          <p:cNvPr id="4" name="TextBox 3">
            <a:extLst>
              <a:ext uri="{FF2B5EF4-FFF2-40B4-BE49-F238E27FC236}">
                <a16:creationId xmlns:a16="http://schemas.microsoft.com/office/drawing/2014/main" id="{8209325C-6D1E-3C34-57A5-BD4F88AD780B}"/>
              </a:ext>
            </a:extLst>
          </p:cNvPr>
          <p:cNvSpPr txBox="1"/>
          <p:nvPr/>
        </p:nvSpPr>
        <p:spPr>
          <a:xfrm>
            <a:off x="2149506" y="213439"/>
            <a:ext cx="7859844" cy="348044"/>
          </a:xfrm>
          <a:prstGeom prst="rect">
            <a:avLst/>
          </a:prstGeom>
          <a:noFill/>
        </p:spPr>
        <p:txBody>
          <a:bodyPr wrap="none" rtlCol="0">
            <a:spAutoFit/>
          </a:bodyPr>
          <a:lstStyle/>
          <a:p>
            <a:r>
              <a:rPr lang="en-US" sz="1451" b="1" dirty="0">
                <a:solidFill>
                  <a:srgbClr val="00682F"/>
                </a:solidFill>
                <a:latin typeface="Lexend Exa HM" pitchFamily="2" charset="77"/>
              </a:rPr>
              <a:t>Heidelberg Materials Edmonton Cement CCUS:  </a:t>
            </a:r>
            <a:r>
              <a:rPr lang="en-US" sz="1451" dirty="0">
                <a:solidFill>
                  <a:srgbClr val="00682F"/>
                </a:solidFill>
                <a:latin typeface="Lexend Exa HM ExtraLight" pitchFamily="2" charset="77"/>
              </a:rPr>
              <a:t>Carbon Footprint Projection</a:t>
            </a:r>
          </a:p>
        </p:txBody>
      </p:sp>
      <p:pic>
        <p:nvPicPr>
          <p:cNvPr id="7" name="Picture 6" descr="A picture containing text, sign&#10;&#10;Description automatically generated">
            <a:extLst>
              <a:ext uri="{FF2B5EF4-FFF2-40B4-BE49-F238E27FC236}">
                <a16:creationId xmlns:a16="http://schemas.microsoft.com/office/drawing/2014/main" id="{79682A27-1C85-177A-B084-2053FB64135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16386" y="6272261"/>
            <a:ext cx="1555200" cy="446896"/>
          </a:xfrm>
          <a:prstGeom prst="rect">
            <a:avLst/>
          </a:prstGeom>
        </p:spPr>
      </p:pic>
    </p:spTree>
    <p:extLst>
      <p:ext uri="{BB962C8B-B14F-4D97-AF65-F5344CB8AC3E}">
        <p14:creationId xmlns:p14="http://schemas.microsoft.com/office/powerpoint/2010/main" val="3250970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866182-3D80-4E56-8F76-BAB35AA6705C}"/>
              </a:ext>
            </a:extLst>
          </p:cNvPr>
          <p:cNvSpPr>
            <a:spLocks noGrp="1"/>
          </p:cNvSpPr>
          <p:nvPr>
            <p:ph type="title"/>
          </p:nvPr>
        </p:nvSpPr>
        <p:spPr/>
        <p:txBody>
          <a:bodyPr/>
          <a:lstStyle/>
          <a:p>
            <a:r>
              <a:rPr lang="en-CA" dirty="0"/>
              <a:t>Growing demand for lower carbon construction materials </a:t>
            </a:r>
          </a:p>
        </p:txBody>
      </p:sp>
      <p:sp>
        <p:nvSpPr>
          <p:cNvPr id="6" name="Text Placeholder 5">
            <a:extLst>
              <a:ext uri="{FF2B5EF4-FFF2-40B4-BE49-F238E27FC236}">
                <a16:creationId xmlns:a16="http://schemas.microsoft.com/office/drawing/2014/main" id="{AB51951F-1114-4703-AD19-205A5355508D}"/>
              </a:ext>
            </a:extLst>
          </p:cNvPr>
          <p:cNvSpPr>
            <a:spLocks noGrp="1"/>
          </p:cNvSpPr>
          <p:nvPr>
            <p:ph type="body" sz="quarter" idx="15"/>
          </p:nvPr>
        </p:nvSpPr>
        <p:spPr>
          <a:xfrm>
            <a:off x="375338" y="1342431"/>
            <a:ext cx="4984062" cy="3648670"/>
          </a:xfrm>
        </p:spPr>
        <p:txBody>
          <a:bodyPr/>
          <a:lstStyle/>
          <a:p>
            <a:pPr marL="285750" indent="-285750">
              <a:buFont typeface="Arial" panose="020B0604020202020204" pitchFamily="34" charset="0"/>
              <a:buChar char="•"/>
            </a:pPr>
            <a:r>
              <a:rPr lang="en-CA" dirty="0"/>
              <a:t>Compliance Policies</a:t>
            </a:r>
          </a:p>
          <a:p>
            <a:pPr marL="915988" lvl="1" indent="-285750"/>
            <a:r>
              <a:rPr lang="en-US" dirty="0">
                <a:hlinkClick r:id="rId3">
                  <a:extLst>
                    <a:ext uri="{A12FA001-AC4F-418D-AE19-62706E023703}">
                      <ahyp:hlinkClr xmlns:ahyp="http://schemas.microsoft.com/office/drawing/2018/hyperlinkcolor" val="tx"/>
                    </a:ext>
                  </a:extLst>
                </a:hlinkClick>
              </a:rPr>
              <a:t>The City of Vancouver, British Columbia</a:t>
            </a:r>
            <a:endParaRPr lang="en-CA" dirty="0"/>
          </a:p>
          <a:p>
            <a:pPr marL="915988" lvl="1" indent="-285750"/>
            <a:r>
              <a:rPr lang="en-US" dirty="0">
                <a:hlinkClick r:id="rId4">
                  <a:extLst>
                    <a:ext uri="{A12FA001-AC4F-418D-AE19-62706E023703}">
                      <ahyp:hlinkClr xmlns:ahyp="http://schemas.microsoft.com/office/drawing/2018/hyperlinkcolor" val="tx"/>
                    </a:ext>
                  </a:extLst>
                </a:hlinkClick>
              </a:rPr>
              <a:t>The City of Portland, Oregon</a:t>
            </a:r>
            <a:endParaRPr lang="en-CA" dirty="0"/>
          </a:p>
          <a:p>
            <a:pPr marL="915988" lvl="1" indent="-285750"/>
            <a:r>
              <a:rPr lang="en-US" dirty="0">
                <a:hlinkClick r:id="rId5">
                  <a:extLst>
                    <a:ext uri="{A12FA001-AC4F-418D-AE19-62706E023703}">
                      <ahyp:hlinkClr xmlns:ahyp="http://schemas.microsoft.com/office/drawing/2018/hyperlinkcolor" val="tx"/>
                    </a:ext>
                  </a:extLst>
                </a:hlinkClick>
              </a:rPr>
              <a:t>Marin County, California</a:t>
            </a:r>
            <a:endParaRPr lang="en-CA" dirty="0"/>
          </a:p>
          <a:p>
            <a:pPr marL="915988" lvl="1" indent="-285750"/>
            <a:r>
              <a:rPr lang="en-US" dirty="0">
                <a:hlinkClick r:id="rId6">
                  <a:extLst>
                    <a:ext uri="{A12FA001-AC4F-418D-AE19-62706E023703}">
                      <ahyp:hlinkClr xmlns:ahyp="http://schemas.microsoft.com/office/drawing/2018/hyperlinkcolor" val="tx"/>
                    </a:ext>
                  </a:extLst>
                </a:hlinkClick>
              </a:rPr>
              <a:t>Treasury Board of Canada’s Low Carbon Concrete Procurement Policy (Forthcoming)</a:t>
            </a:r>
            <a:endParaRPr lang="en-CA" dirty="0"/>
          </a:p>
          <a:p>
            <a:pPr marL="915988" lvl="1" indent="-285750"/>
            <a:r>
              <a:rPr lang="en-US" dirty="0">
                <a:hlinkClick r:id="rId7">
                  <a:extLst>
                    <a:ext uri="{A12FA001-AC4F-418D-AE19-62706E023703}">
                      <ahyp:hlinkClr xmlns:ahyp="http://schemas.microsoft.com/office/drawing/2018/hyperlinkcolor" val="tx"/>
                    </a:ext>
                  </a:extLst>
                </a:hlinkClick>
              </a:rPr>
              <a:t>US General Services Administration’s Facilities Standards for the Public Buildings Service</a:t>
            </a:r>
            <a:endParaRPr lang="en-US" dirty="0"/>
          </a:p>
          <a:p>
            <a:pPr marL="915988" lvl="1" indent="-285750"/>
            <a:r>
              <a:rPr lang="en-US" u="sng" dirty="0"/>
              <a:t>Inflation Reduction Act 2022 – US Federal Gov</a:t>
            </a:r>
            <a:r>
              <a:rPr lang="en-US" dirty="0"/>
              <a:t>.</a:t>
            </a:r>
            <a:endParaRPr lang="en-CA" dirty="0"/>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r>
              <a:rPr lang="en-CA" dirty="0"/>
              <a:t>Voluntary Project Examples:</a:t>
            </a:r>
          </a:p>
          <a:p>
            <a:pPr marL="915988" lvl="1" indent="-285750"/>
            <a:r>
              <a:rPr lang="en-CA" dirty="0"/>
              <a:t>Seattle: Microsoft Project</a:t>
            </a:r>
          </a:p>
          <a:p>
            <a:pPr marL="915988" lvl="1" indent="-285750"/>
            <a:r>
              <a:rPr lang="en-CA" dirty="0"/>
              <a:t>Seattle: Facebook Project</a:t>
            </a:r>
          </a:p>
          <a:p>
            <a:pPr marL="915988" lvl="1" indent="-285750"/>
            <a:r>
              <a:rPr lang="en-CA" dirty="0"/>
              <a:t>Calgary: Amazon Warehouse</a:t>
            </a:r>
          </a:p>
          <a:p>
            <a:pPr marL="915988" lvl="1" indent="-285750"/>
            <a:r>
              <a:rPr lang="en-CA" dirty="0"/>
              <a:t>Edmonton: Amazon Warehouse</a:t>
            </a:r>
          </a:p>
        </p:txBody>
      </p:sp>
      <p:grpSp>
        <p:nvGrpSpPr>
          <p:cNvPr id="7" name="Group 6">
            <a:extLst>
              <a:ext uri="{FF2B5EF4-FFF2-40B4-BE49-F238E27FC236}">
                <a16:creationId xmlns:a16="http://schemas.microsoft.com/office/drawing/2014/main" id="{071A282B-5FC0-430B-9ABE-E9C23DC00F16}"/>
              </a:ext>
            </a:extLst>
          </p:cNvPr>
          <p:cNvGrpSpPr/>
          <p:nvPr/>
        </p:nvGrpSpPr>
        <p:grpSpPr>
          <a:xfrm>
            <a:off x="5177162" y="1456730"/>
            <a:ext cx="7014838" cy="4305938"/>
            <a:chOff x="3880136" y="1702076"/>
            <a:chExt cx="7014838" cy="4305938"/>
          </a:xfrm>
        </p:grpSpPr>
        <p:pic>
          <p:nvPicPr>
            <p:cNvPr id="8" name="Picture 7">
              <a:extLst>
                <a:ext uri="{FF2B5EF4-FFF2-40B4-BE49-F238E27FC236}">
                  <a16:creationId xmlns:a16="http://schemas.microsoft.com/office/drawing/2014/main" id="{231A4B39-4397-495F-AD6C-AAF8993E06AF}"/>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3880136" y="1702076"/>
              <a:ext cx="7014838" cy="4305938"/>
            </a:xfrm>
            <a:prstGeom prst="rect">
              <a:avLst/>
            </a:prstGeom>
            <a:noFill/>
            <a:ln>
              <a:noFill/>
            </a:ln>
          </p:spPr>
        </p:pic>
        <p:cxnSp>
          <p:nvCxnSpPr>
            <p:cNvPr id="9" name="Straight Connector 8">
              <a:extLst>
                <a:ext uri="{FF2B5EF4-FFF2-40B4-BE49-F238E27FC236}">
                  <a16:creationId xmlns:a16="http://schemas.microsoft.com/office/drawing/2014/main" id="{26C1DC1C-2D02-40F2-BB54-6701F39907FC}"/>
                </a:ext>
              </a:extLst>
            </p:cNvPr>
            <p:cNvCxnSpPr>
              <a:cxnSpLocks/>
            </p:cNvCxnSpPr>
            <p:nvPr/>
          </p:nvCxnSpPr>
          <p:spPr>
            <a:xfrm flipV="1">
              <a:off x="8925621" y="2423731"/>
              <a:ext cx="0" cy="459457"/>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066AA41-8ABE-44E1-89C7-DA451D671B84}"/>
                </a:ext>
              </a:extLst>
            </p:cNvPr>
            <p:cNvGrpSpPr/>
            <p:nvPr/>
          </p:nvGrpSpPr>
          <p:grpSpPr>
            <a:xfrm>
              <a:off x="4232610" y="1758915"/>
              <a:ext cx="5368740" cy="1851304"/>
              <a:chOff x="5169124" y="1597815"/>
              <a:chExt cx="5368740" cy="1851304"/>
            </a:xfrm>
          </p:grpSpPr>
          <p:grpSp>
            <p:nvGrpSpPr>
              <p:cNvPr id="16" name="Group 15">
                <a:extLst>
                  <a:ext uri="{FF2B5EF4-FFF2-40B4-BE49-F238E27FC236}">
                    <a16:creationId xmlns:a16="http://schemas.microsoft.com/office/drawing/2014/main" id="{3BE4D29F-E270-4397-8795-EA99E1874172}"/>
                  </a:ext>
                </a:extLst>
              </p:cNvPr>
              <p:cNvGrpSpPr/>
              <p:nvPr/>
            </p:nvGrpSpPr>
            <p:grpSpPr>
              <a:xfrm>
                <a:off x="5169124" y="1597815"/>
                <a:ext cx="1593461" cy="1238362"/>
                <a:chOff x="5169124" y="1597815"/>
                <a:chExt cx="1593461" cy="1238362"/>
              </a:xfrm>
            </p:grpSpPr>
            <p:pic>
              <p:nvPicPr>
                <p:cNvPr id="21" name="Graphic 20" descr="Marker with solid fill">
                  <a:extLst>
                    <a:ext uri="{FF2B5EF4-FFF2-40B4-BE49-F238E27FC236}">
                      <a16:creationId xmlns:a16="http://schemas.microsoft.com/office/drawing/2014/main" id="{979D231B-F775-4544-9941-299C4DAD10B3}"/>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15039" y="2371428"/>
                  <a:ext cx="464749" cy="464749"/>
                </a:xfrm>
                <a:prstGeom prst="rect">
                  <a:avLst/>
                </a:prstGeom>
              </p:spPr>
            </p:pic>
            <p:grpSp>
              <p:nvGrpSpPr>
                <p:cNvPr id="22" name="Group 21">
                  <a:extLst>
                    <a:ext uri="{FF2B5EF4-FFF2-40B4-BE49-F238E27FC236}">
                      <a16:creationId xmlns:a16="http://schemas.microsoft.com/office/drawing/2014/main" id="{CB636B74-5D4D-4B24-92AF-11E5E5E46E90}"/>
                    </a:ext>
                  </a:extLst>
                </p:cNvPr>
                <p:cNvGrpSpPr/>
                <p:nvPr/>
              </p:nvGrpSpPr>
              <p:grpSpPr>
                <a:xfrm>
                  <a:off x="5169124" y="1597815"/>
                  <a:ext cx="1593461" cy="702306"/>
                  <a:chOff x="5169124" y="1597815"/>
                  <a:chExt cx="1593461" cy="702306"/>
                </a:xfrm>
              </p:grpSpPr>
              <p:pic>
                <p:nvPicPr>
                  <p:cNvPr id="23" name="Graphic 22" descr="Marker with solid fill">
                    <a:extLst>
                      <a:ext uri="{FF2B5EF4-FFF2-40B4-BE49-F238E27FC236}">
                        <a16:creationId xmlns:a16="http://schemas.microsoft.com/office/drawing/2014/main" id="{4DFAE192-C9C5-400D-8AA8-FF0EB18CAB0B}"/>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97836" y="1597815"/>
                    <a:ext cx="464749" cy="464749"/>
                  </a:xfrm>
                  <a:prstGeom prst="rect">
                    <a:avLst/>
                  </a:prstGeom>
                </p:spPr>
              </p:pic>
              <p:pic>
                <p:nvPicPr>
                  <p:cNvPr id="24" name="Graphic 23" descr="Marker with solid fill">
                    <a:extLst>
                      <a:ext uri="{FF2B5EF4-FFF2-40B4-BE49-F238E27FC236}">
                        <a16:creationId xmlns:a16="http://schemas.microsoft.com/office/drawing/2014/main" id="{87E6F895-272A-4DD9-A171-224615D22385}"/>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16949" y="1835372"/>
                    <a:ext cx="464749" cy="464749"/>
                  </a:xfrm>
                  <a:prstGeom prst="rect">
                    <a:avLst/>
                  </a:prstGeom>
                </p:spPr>
              </p:pic>
              <p:pic>
                <p:nvPicPr>
                  <p:cNvPr id="25" name="Graphic 24" descr="Marker with solid fill">
                    <a:extLst>
                      <a:ext uri="{FF2B5EF4-FFF2-40B4-BE49-F238E27FC236}">
                        <a16:creationId xmlns:a16="http://schemas.microsoft.com/office/drawing/2014/main" id="{C2C315CA-5A1C-4AAD-88E2-F896F96FB43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69124" y="1751595"/>
                    <a:ext cx="464749" cy="464749"/>
                  </a:xfrm>
                  <a:prstGeom prst="rect">
                    <a:avLst/>
                  </a:prstGeom>
                </p:spPr>
              </p:pic>
            </p:grpSp>
          </p:grpSp>
          <p:grpSp>
            <p:nvGrpSpPr>
              <p:cNvPr id="17" name="Group 16">
                <a:extLst>
                  <a:ext uri="{FF2B5EF4-FFF2-40B4-BE49-F238E27FC236}">
                    <a16:creationId xmlns:a16="http://schemas.microsoft.com/office/drawing/2014/main" id="{C3B28673-6444-4219-A945-7BBDD5538920}"/>
                  </a:ext>
                </a:extLst>
              </p:cNvPr>
              <p:cNvGrpSpPr/>
              <p:nvPr/>
            </p:nvGrpSpPr>
            <p:grpSpPr>
              <a:xfrm>
                <a:off x="8749009" y="2571057"/>
                <a:ext cx="1788855" cy="878062"/>
                <a:chOff x="8749009" y="2571057"/>
                <a:chExt cx="1788855" cy="878062"/>
              </a:xfrm>
            </p:grpSpPr>
            <p:pic>
              <p:nvPicPr>
                <p:cNvPr id="18" name="Graphic 17" descr="Marker with solid fill">
                  <a:extLst>
                    <a:ext uri="{FF2B5EF4-FFF2-40B4-BE49-F238E27FC236}">
                      <a16:creationId xmlns:a16="http://schemas.microsoft.com/office/drawing/2014/main" id="{E6CA2857-BDDA-41C5-AF0B-F10BDE425DA6}"/>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49009" y="2571057"/>
                  <a:ext cx="464749" cy="464749"/>
                </a:xfrm>
                <a:prstGeom prst="rect">
                  <a:avLst/>
                </a:prstGeom>
              </p:spPr>
            </p:pic>
            <p:pic>
              <p:nvPicPr>
                <p:cNvPr id="19" name="Graphic 18" descr="Marker with solid fill">
                  <a:extLst>
                    <a:ext uri="{FF2B5EF4-FFF2-40B4-BE49-F238E27FC236}">
                      <a16:creationId xmlns:a16="http://schemas.microsoft.com/office/drawing/2014/main" id="{AF809986-BFE4-47F5-80FD-28F076E11463}"/>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61737" y="2704207"/>
                  <a:ext cx="464749" cy="464749"/>
                </a:xfrm>
                <a:prstGeom prst="rect">
                  <a:avLst/>
                </a:prstGeom>
              </p:spPr>
            </p:pic>
            <p:pic>
              <p:nvPicPr>
                <p:cNvPr id="20" name="Graphic 19" descr="Marker with solid fill">
                  <a:extLst>
                    <a:ext uri="{FF2B5EF4-FFF2-40B4-BE49-F238E27FC236}">
                      <a16:creationId xmlns:a16="http://schemas.microsoft.com/office/drawing/2014/main" id="{B0AE2E05-CE42-477F-8754-BF8A0F8CDFF7}"/>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3115" y="2984370"/>
                  <a:ext cx="464749" cy="464749"/>
                </a:xfrm>
                <a:prstGeom prst="rect">
                  <a:avLst/>
                </a:prstGeom>
              </p:spPr>
            </p:pic>
          </p:grpSp>
        </p:grpSp>
        <p:pic>
          <p:nvPicPr>
            <p:cNvPr id="11" name="Graphic 10" descr="Marker with solid fill">
              <a:extLst>
                <a:ext uri="{FF2B5EF4-FFF2-40B4-BE49-F238E27FC236}">
                  <a16:creationId xmlns:a16="http://schemas.microsoft.com/office/drawing/2014/main" id="{4451FCCC-0645-4B5F-AAB9-5A0208FE340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65130" y="3874333"/>
              <a:ext cx="464749" cy="464749"/>
            </a:xfrm>
            <a:prstGeom prst="rect">
              <a:avLst/>
            </a:prstGeom>
          </p:spPr>
        </p:pic>
        <p:pic>
          <p:nvPicPr>
            <p:cNvPr id="12" name="Graphic 11" descr="Marker with solid fill">
              <a:extLst>
                <a:ext uri="{FF2B5EF4-FFF2-40B4-BE49-F238E27FC236}">
                  <a16:creationId xmlns:a16="http://schemas.microsoft.com/office/drawing/2014/main" id="{300179C8-9CF4-4FFD-BD46-E141507FA0B6}"/>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17430" y="4458533"/>
              <a:ext cx="464749" cy="464749"/>
            </a:xfrm>
            <a:prstGeom prst="rect">
              <a:avLst/>
            </a:prstGeom>
          </p:spPr>
        </p:pic>
        <p:pic>
          <p:nvPicPr>
            <p:cNvPr id="13" name="Graphic 12" descr="Marker with solid fill">
              <a:extLst>
                <a:ext uri="{FF2B5EF4-FFF2-40B4-BE49-F238E27FC236}">
                  <a16:creationId xmlns:a16="http://schemas.microsoft.com/office/drawing/2014/main" id="{DC612337-4D2C-4FB8-9DEA-84DCFFFDDC3B}"/>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30030" y="3823533"/>
              <a:ext cx="464749" cy="464749"/>
            </a:xfrm>
            <a:prstGeom prst="rect">
              <a:avLst/>
            </a:prstGeom>
          </p:spPr>
        </p:pic>
        <p:pic>
          <p:nvPicPr>
            <p:cNvPr id="14" name="Graphic 13" descr="Marker with solid fill">
              <a:extLst>
                <a:ext uri="{FF2B5EF4-FFF2-40B4-BE49-F238E27FC236}">
                  <a16:creationId xmlns:a16="http://schemas.microsoft.com/office/drawing/2014/main" id="{43C19E53-C7C7-4F71-8E99-1EB82C433D44}"/>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39830" y="5093533"/>
              <a:ext cx="464749" cy="464749"/>
            </a:xfrm>
            <a:prstGeom prst="rect">
              <a:avLst/>
            </a:prstGeom>
          </p:spPr>
        </p:pic>
        <p:pic>
          <p:nvPicPr>
            <p:cNvPr id="15" name="Graphic 14" descr="Marker with solid fill">
              <a:extLst>
                <a:ext uri="{FF2B5EF4-FFF2-40B4-BE49-F238E27FC236}">
                  <a16:creationId xmlns:a16="http://schemas.microsoft.com/office/drawing/2014/main" id="{5D0C1002-D9F8-4007-9BF9-E70B9163ABB0}"/>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96393" y="3444174"/>
              <a:ext cx="464749" cy="464749"/>
            </a:xfrm>
            <a:prstGeom prst="rect">
              <a:avLst/>
            </a:prstGeom>
          </p:spPr>
        </p:pic>
      </p:grpSp>
    </p:spTree>
    <p:extLst>
      <p:ext uri="{BB962C8B-B14F-4D97-AF65-F5344CB8AC3E}">
        <p14:creationId xmlns:p14="http://schemas.microsoft.com/office/powerpoint/2010/main" val="1593899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866182-3D80-4E56-8F76-BAB35AA6705C}"/>
              </a:ext>
            </a:extLst>
          </p:cNvPr>
          <p:cNvSpPr>
            <a:spLocks noGrp="1"/>
          </p:cNvSpPr>
          <p:nvPr>
            <p:ph type="title"/>
          </p:nvPr>
        </p:nvSpPr>
        <p:spPr>
          <a:xfrm>
            <a:off x="386459" y="332971"/>
            <a:ext cx="11419082" cy="837217"/>
          </a:xfrm>
        </p:spPr>
        <p:txBody>
          <a:bodyPr/>
          <a:lstStyle/>
          <a:p>
            <a:pPr algn="ctr"/>
            <a:br>
              <a:rPr lang="en-CA" dirty="0"/>
            </a:br>
            <a:br>
              <a:rPr lang="en-CA" dirty="0"/>
            </a:br>
            <a:r>
              <a:rPr lang="en-CA" dirty="0"/>
              <a:t>What needs to change for us to accelerate new clean technology to </a:t>
            </a:r>
            <a:r>
              <a:rPr lang="en-CA" u="sng" dirty="0"/>
              <a:t>finish line</a:t>
            </a:r>
            <a:r>
              <a:rPr lang="en-CA" dirty="0"/>
              <a:t>?</a:t>
            </a:r>
          </a:p>
        </p:txBody>
      </p:sp>
      <p:sp>
        <p:nvSpPr>
          <p:cNvPr id="6" name="Text Placeholder 5">
            <a:extLst>
              <a:ext uri="{FF2B5EF4-FFF2-40B4-BE49-F238E27FC236}">
                <a16:creationId xmlns:a16="http://schemas.microsoft.com/office/drawing/2014/main" id="{AB51951F-1114-4703-AD19-205A5355508D}"/>
              </a:ext>
            </a:extLst>
          </p:cNvPr>
          <p:cNvSpPr>
            <a:spLocks noGrp="1"/>
          </p:cNvSpPr>
          <p:nvPr>
            <p:ph type="body" sz="quarter" idx="15"/>
          </p:nvPr>
        </p:nvSpPr>
        <p:spPr>
          <a:xfrm>
            <a:off x="675861" y="1329107"/>
            <a:ext cx="6124159" cy="4389521"/>
          </a:xfrm>
        </p:spPr>
        <p:txBody>
          <a:bodyPr/>
          <a:lstStyle/>
          <a:p>
            <a:pPr marL="285750" indent="-285750">
              <a:buFont typeface="Arial" panose="020B0604020202020204" pitchFamily="34" charset="0"/>
              <a:buChar char="•"/>
            </a:pPr>
            <a:r>
              <a:rPr lang="en-CA" b="1" dirty="0"/>
              <a:t>Education</a:t>
            </a:r>
          </a:p>
          <a:p>
            <a:pPr marL="915988" lvl="1" indent="-285750"/>
            <a:r>
              <a:rPr lang="en-CA" dirty="0"/>
              <a:t>Throughout concrete value chain</a:t>
            </a:r>
          </a:p>
          <a:p>
            <a:pPr marL="285750" indent="-285750">
              <a:buFont typeface="Arial" panose="020B0604020202020204" pitchFamily="34" charset="0"/>
              <a:buChar char="•"/>
            </a:pPr>
            <a:r>
              <a:rPr lang="en-CA" b="1" dirty="0"/>
              <a:t>Advocacy</a:t>
            </a:r>
          </a:p>
          <a:p>
            <a:pPr marL="915988" lvl="1" indent="-285750"/>
            <a:r>
              <a:rPr lang="en-CA" dirty="0"/>
              <a:t>Cement PCR – Carbon Capture Storage language</a:t>
            </a:r>
          </a:p>
          <a:p>
            <a:pPr marL="915988" lvl="1" indent="-285750"/>
            <a:r>
              <a:rPr lang="en-CA" dirty="0"/>
              <a:t>Concrete PCR –Inclusion of “use phase” – resiliency</a:t>
            </a:r>
          </a:p>
          <a:p>
            <a:pPr marL="915988" lvl="1" indent="-285750"/>
            <a:r>
              <a:rPr lang="en-CA" dirty="0"/>
              <a:t>All PCRs- Global consistency</a:t>
            </a:r>
          </a:p>
          <a:p>
            <a:pPr marL="915988" lvl="1" indent="-285750"/>
            <a:r>
              <a:rPr lang="en-CA" dirty="0"/>
              <a:t>Building Codes – Inclusion of Embodied Carbon Reductions</a:t>
            </a:r>
          </a:p>
          <a:p>
            <a:pPr marL="285750" indent="-285750">
              <a:buFont typeface="Arial" panose="020B0604020202020204" pitchFamily="34" charset="0"/>
              <a:buChar char="•"/>
            </a:pPr>
            <a:r>
              <a:rPr lang="en-CA" b="1" dirty="0"/>
              <a:t>Collaborative design</a:t>
            </a:r>
          </a:p>
          <a:p>
            <a:pPr marL="915988" lvl="1" indent="-285750"/>
            <a:r>
              <a:rPr lang="en-CA" dirty="0"/>
              <a:t>Integrative design: include material suppliers</a:t>
            </a:r>
          </a:p>
          <a:p>
            <a:pPr marL="915988" lvl="1" indent="-285750"/>
            <a:r>
              <a:rPr lang="en-CA" dirty="0"/>
              <a:t>Meet Owner’s sustainability needs</a:t>
            </a:r>
          </a:p>
          <a:p>
            <a:pPr marL="1293750" lvl="2" indent="-285750"/>
            <a:r>
              <a:rPr lang="en-CA" dirty="0"/>
              <a:t>Include owners’ operational carbon needs</a:t>
            </a:r>
          </a:p>
          <a:p>
            <a:pPr marL="1293750" lvl="2" indent="-285750"/>
            <a:r>
              <a:rPr lang="en-CA" dirty="0"/>
              <a:t>Educate owners on emission reduction beyond construction – operations - end of life </a:t>
            </a:r>
          </a:p>
          <a:p>
            <a:pPr marL="915988" lvl="1" indent="-285750"/>
            <a:endParaRPr lang="en-CA" dirty="0"/>
          </a:p>
          <a:p>
            <a:pPr marL="285750" indent="-285750">
              <a:buFont typeface="Arial" panose="020B0604020202020204" pitchFamily="34" charset="0"/>
              <a:buChar char="•"/>
            </a:pPr>
            <a:endParaRPr lang="en-CA" dirty="0"/>
          </a:p>
        </p:txBody>
      </p:sp>
      <p:pic>
        <p:nvPicPr>
          <p:cNvPr id="3" name="Picture 2">
            <a:extLst>
              <a:ext uri="{FF2B5EF4-FFF2-40B4-BE49-F238E27FC236}">
                <a16:creationId xmlns:a16="http://schemas.microsoft.com/office/drawing/2014/main" id="{4C06EC47-08FF-4576-8D2A-1E36AF2B13CC}"/>
              </a:ext>
            </a:extLst>
          </p:cNvPr>
          <p:cNvPicPr>
            <a:picLocks noChangeAspect="1"/>
          </p:cNvPicPr>
          <p:nvPr/>
        </p:nvPicPr>
        <p:blipFill>
          <a:blip r:embed="rId3"/>
          <a:stretch>
            <a:fillRect/>
          </a:stretch>
        </p:blipFill>
        <p:spPr>
          <a:xfrm>
            <a:off x="6800020" y="1849508"/>
            <a:ext cx="4380672" cy="2920448"/>
          </a:xfrm>
          <a:prstGeom prst="rect">
            <a:avLst/>
          </a:prstGeom>
        </p:spPr>
      </p:pic>
      <p:sp>
        <p:nvSpPr>
          <p:cNvPr id="26" name="Title 3">
            <a:extLst>
              <a:ext uri="{FF2B5EF4-FFF2-40B4-BE49-F238E27FC236}">
                <a16:creationId xmlns:a16="http://schemas.microsoft.com/office/drawing/2014/main" id="{1A1ECFD1-158E-430A-987C-FB7C5426E7EA}"/>
              </a:ext>
            </a:extLst>
          </p:cNvPr>
          <p:cNvSpPr txBox="1">
            <a:spLocks/>
          </p:cNvSpPr>
          <p:nvPr/>
        </p:nvSpPr>
        <p:spPr>
          <a:xfrm>
            <a:off x="1788255" y="332971"/>
            <a:ext cx="8615490" cy="339901"/>
          </a:xfrm>
          <a:prstGeom prst="rect">
            <a:avLst/>
          </a:prstGeom>
          <a:solidFill>
            <a:schemeClr val="accent1"/>
          </a:solidFill>
        </p:spPr>
        <p:txBody>
          <a:bodyPr vert="horz" wrap="square" lIns="0" tIns="0" rIns="0" bIns="0" rtlCol="0" anchor="t">
            <a:spAutoFit/>
          </a:bodyPr>
          <a:lstStyle>
            <a:lvl1pPr algn="l" defTabSz="914400" rtl="0" eaLnBrk="1" latinLnBrk="0" hangingPunct="1">
              <a:lnSpc>
                <a:spcPct val="90000"/>
              </a:lnSpc>
              <a:spcBef>
                <a:spcPct val="0"/>
              </a:spcBef>
              <a:buNone/>
              <a:defRPr sz="2000" b="0" kern="1200" baseline="0">
                <a:solidFill>
                  <a:schemeClr val="tx2"/>
                </a:solidFill>
                <a:latin typeface="+mj-lt"/>
                <a:ea typeface="+mj-ea"/>
                <a:cs typeface="+mj-cs"/>
              </a:defRPr>
            </a:lvl1pPr>
          </a:lstStyle>
          <a:p>
            <a:pPr algn="ctr"/>
            <a:r>
              <a:rPr lang="en-CA" sz="2400" dirty="0">
                <a:solidFill>
                  <a:schemeClr val="bg1"/>
                </a:solidFill>
              </a:rPr>
              <a:t>Is there a pathway to net zero concrete?</a:t>
            </a:r>
          </a:p>
        </p:txBody>
      </p:sp>
      <p:sp>
        <p:nvSpPr>
          <p:cNvPr id="28" name="Title 3">
            <a:extLst>
              <a:ext uri="{FF2B5EF4-FFF2-40B4-BE49-F238E27FC236}">
                <a16:creationId xmlns:a16="http://schemas.microsoft.com/office/drawing/2014/main" id="{7D17C784-653B-4083-AB16-28FBF015E696}"/>
              </a:ext>
            </a:extLst>
          </p:cNvPr>
          <p:cNvSpPr txBox="1">
            <a:spLocks/>
          </p:cNvSpPr>
          <p:nvPr/>
        </p:nvSpPr>
        <p:spPr>
          <a:xfrm>
            <a:off x="2299253" y="5828066"/>
            <a:ext cx="7593494" cy="339901"/>
          </a:xfrm>
          <a:prstGeom prst="rect">
            <a:avLst/>
          </a:prstGeom>
          <a:solidFill>
            <a:schemeClr val="accent1"/>
          </a:solidFill>
        </p:spPr>
        <p:txBody>
          <a:bodyPr vert="horz" wrap="square" lIns="0" tIns="0" rIns="0" bIns="0" rtlCol="0" anchor="t">
            <a:spAutoFit/>
          </a:bodyPr>
          <a:lstStyle>
            <a:lvl1pPr algn="l" defTabSz="914400" rtl="0" eaLnBrk="1" latinLnBrk="0" hangingPunct="1">
              <a:lnSpc>
                <a:spcPct val="90000"/>
              </a:lnSpc>
              <a:spcBef>
                <a:spcPct val="0"/>
              </a:spcBef>
              <a:buNone/>
              <a:defRPr sz="2000" b="0" kern="1200" baseline="0">
                <a:solidFill>
                  <a:schemeClr val="tx2"/>
                </a:solidFill>
                <a:latin typeface="+mj-lt"/>
                <a:ea typeface="+mj-ea"/>
                <a:cs typeface="+mj-cs"/>
              </a:defRPr>
            </a:lvl1pPr>
          </a:lstStyle>
          <a:p>
            <a:pPr algn="ctr"/>
            <a:r>
              <a:rPr lang="en-CA" sz="2400" dirty="0">
                <a:solidFill>
                  <a:schemeClr val="bg1"/>
                </a:solidFill>
              </a:rPr>
              <a:t>Technology is ready… are you?</a:t>
            </a:r>
          </a:p>
        </p:txBody>
      </p:sp>
    </p:spTree>
    <p:extLst>
      <p:ext uri="{BB962C8B-B14F-4D97-AF65-F5344CB8AC3E}">
        <p14:creationId xmlns:p14="http://schemas.microsoft.com/office/powerpoint/2010/main" val="2113128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26" grpId="0" animBg="1"/>
      <p:bldP spid="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D6FFFE-B0B1-1262-6F3E-61DBC654F1DC}"/>
              </a:ext>
            </a:extLst>
          </p:cNvPr>
          <p:cNvSpPr>
            <a:spLocks noGrp="1"/>
          </p:cNvSpPr>
          <p:nvPr>
            <p:ph type="body" sz="quarter" idx="17"/>
          </p:nvPr>
        </p:nvSpPr>
        <p:spPr/>
        <p:txBody>
          <a:bodyPr/>
          <a:lstStyle/>
          <a:p>
            <a:r>
              <a:rPr lang="en-US" dirty="0"/>
              <a:t>Thank You</a:t>
            </a:r>
          </a:p>
          <a:p>
            <a:endParaRPr lang="en-US" dirty="0"/>
          </a:p>
          <a:p>
            <a:r>
              <a:rPr lang="en-US" dirty="0"/>
              <a:t>Questions</a:t>
            </a:r>
          </a:p>
        </p:txBody>
      </p:sp>
      <p:sp>
        <p:nvSpPr>
          <p:cNvPr id="9" name="Textfeld 8">
            <a:extLst>
              <a:ext uri="{FF2B5EF4-FFF2-40B4-BE49-F238E27FC236}">
                <a16:creationId xmlns:a16="http://schemas.microsoft.com/office/drawing/2014/main" id="{F3CA1537-9447-41CC-A40D-D47B75C0BD2A}"/>
              </a:ext>
            </a:extLst>
          </p:cNvPr>
          <p:cNvSpPr txBox="1"/>
          <p:nvPr/>
        </p:nvSpPr>
        <p:spPr>
          <a:xfrm>
            <a:off x="3219871" y="6391656"/>
            <a:ext cx="4466804" cy="137099"/>
          </a:xfrm>
          <a:prstGeom prst="rect">
            <a:avLst/>
          </a:prstGeom>
          <a:solidFill>
            <a:schemeClr val="bg1"/>
          </a:solid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latin typeface="+mn-lt"/>
                <a:ea typeface="+mn-ea"/>
                <a:cs typeface="Calibri Light" panose="020F0302020204030204" pitchFamily="34" charset="0"/>
              </a:rPr>
              <a:t>Pathway to carbon free concrete - OACI  - Ignacio Cariaga</a:t>
            </a:r>
          </a:p>
        </p:txBody>
      </p:sp>
      <p:sp>
        <p:nvSpPr>
          <p:cNvPr id="10" name="Textfeld 8">
            <a:extLst>
              <a:ext uri="{FF2B5EF4-FFF2-40B4-BE49-F238E27FC236}">
                <a16:creationId xmlns:a16="http://schemas.microsoft.com/office/drawing/2014/main" id="{0DFD6104-4DB7-4F60-886B-87E44FBD3C10}"/>
              </a:ext>
            </a:extLst>
          </p:cNvPr>
          <p:cNvSpPr txBox="1"/>
          <p:nvPr/>
        </p:nvSpPr>
        <p:spPr>
          <a:xfrm>
            <a:off x="2401101" y="6391657"/>
            <a:ext cx="564933" cy="137098"/>
          </a:xfrm>
          <a:prstGeom prst="rect">
            <a:avLst/>
          </a:prstGeom>
          <a:solidFill>
            <a:schemeClr val="bg1"/>
          </a:solidFill>
        </p:spPr>
        <p:txBody>
          <a:bodyPr wrap="none" lIns="0" tIns="0" rIns="0" bIns="0" rtlCol="0" anchor="t" anchorCtr="0">
            <a:noAutofit/>
          </a:bodyPr>
          <a:lstStyle/>
          <a:p>
            <a:pPr marL="0" marR="0" lvl="0" indent="0" algn="l" defTabSz="755021" rtl="0" eaLnBrk="1" fontAlgn="auto" latinLnBrk="0" hangingPunct="1">
              <a:lnSpc>
                <a:spcPct val="100000"/>
              </a:lnSpc>
              <a:spcBef>
                <a:spcPts val="0"/>
              </a:spcBef>
              <a:spcAft>
                <a:spcPts val="0"/>
              </a:spcAft>
              <a:buClrTx/>
              <a:buSzTx/>
              <a:buFontTx/>
              <a:buNone/>
              <a:tabLst/>
              <a:defRPr/>
            </a:pPr>
            <a:r>
              <a:rPr lang="en-US" sz="800" kern="1200" noProof="0" dirty="0">
                <a:latin typeface="+mn-lt"/>
                <a:ea typeface="+mn-ea"/>
                <a:cs typeface="Calibri Light" panose="020F0302020204030204" pitchFamily="34" charset="0"/>
              </a:rPr>
              <a:t>02-09-2023</a:t>
            </a:r>
          </a:p>
        </p:txBody>
      </p:sp>
    </p:spTree>
    <p:extLst>
      <p:ext uri="{BB962C8B-B14F-4D97-AF65-F5344CB8AC3E}">
        <p14:creationId xmlns:p14="http://schemas.microsoft.com/office/powerpoint/2010/main" val="108252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sp>
        <p:nvSpPr>
          <p:cNvPr id="390" name="Google Shape;390;p35"/>
          <p:cNvSpPr txBox="1">
            <a:spLocks noGrp="1"/>
          </p:cNvSpPr>
          <p:nvPr>
            <p:ph type="ctrTitle"/>
          </p:nvPr>
        </p:nvSpPr>
        <p:spPr>
          <a:xfrm>
            <a:off x="321733" y="298450"/>
            <a:ext cx="7315200" cy="935665"/>
          </a:xfrm>
        </p:spPr>
        <p:txBody>
          <a:bodyPr spcFirstLastPara="1" wrap="square" lIns="0" tIns="0" rIns="0" bIns="0" anchor="b" anchorCtr="0">
            <a:normAutofit/>
          </a:bodyPr>
          <a:lstStyle/>
          <a:p>
            <a:r>
              <a:rPr lang="en-US"/>
              <a:t>Thank you!</a:t>
            </a:r>
          </a:p>
        </p:txBody>
      </p:sp>
      <p:sp>
        <p:nvSpPr>
          <p:cNvPr id="391" name="Google Shape;391;p35"/>
          <p:cNvSpPr txBox="1">
            <a:spLocks noGrp="1"/>
          </p:cNvSpPr>
          <p:nvPr>
            <p:ph type="subTitle" idx="1"/>
          </p:nvPr>
        </p:nvSpPr>
        <p:spPr>
          <a:xfrm>
            <a:off x="1295342" y="2577181"/>
            <a:ext cx="10245553" cy="3580715"/>
          </a:xfrm>
        </p:spPr>
        <p:txBody>
          <a:bodyPr spcFirstLastPara="1" wrap="square" lIns="0" tIns="0" rIns="0" bIns="0" anchor="t" anchorCtr="0">
            <a:normAutofit/>
          </a:bodyPr>
          <a:lstStyle/>
          <a:p>
            <a:pPr marL="135463" indent="0">
              <a:spcBef>
                <a:spcPts val="2400"/>
              </a:spcBef>
              <a:spcAft>
                <a:spcPts val="2400"/>
              </a:spcAft>
              <a:buSzPts val="2000"/>
            </a:pPr>
            <a:r>
              <a:rPr lang="en-US" sz="2667"/>
              <a:t>NEU: An ACI Center of Excellence for Carbon Neutral Concrete</a:t>
            </a:r>
          </a:p>
          <a:p>
            <a:pPr marL="135463" indent="0">
              <a:spcBef>
                <a:spcPts val="2400"/>
              </a:spcBef>
              <a:spcAft>
                <a:spcPts val="2400"/>
              </a:spcAft>
              <a:buSzPts val="2000"/>
            </a:pPr>
            <a:r>
              <a:rPr lang="en-US" sz="2667"/>
              <a:t>@NEUCarbonNeutralConcrete</a:t>
            </a:r>
          </a:p>
          <a:p>
            <a:pPr marL="135463" indent="0">
              <a:spcBef>
                <a:spcPts val="2400"/>
              </a:spcBef>
              <a:spcAft>
                <a:spcPts val="2400"/>
              </a:spcAft>
              <a:buSzPts val="2000"/>
            </a:pPr>
            <a:r>
              <a:rPr lang="en-US" sz="2667"/>
              <a:t>@</a:t>
            </a:r>
            <a:r>
              <a:rPr lang="en-US" sz="2667" err="1"/>
              <a:t>NEUconcrete</a:t>
            </a:r>
            <a:endParaRPr lang="en-US" sz="2667" b="1"/>
          </a:p>
        </p:txBody>
      </p:sp>
      <p:pic>
        <p:nvPicPr>
          <p:cNvPr id="4" name="Picture 3">
            <a:extLst>
              <a:ext uri="{FF2B5EF4-FFF2-40B4-BE49-F238E27FC236}">
                <a16:creationId xmlns:a16="http://schemas.microsoft.com/office/drawing/2014/main" id="{95BDFDEC-CEEF-C4D6-147D-FA723C26F20B}"/>
              </a:ext>
            </a:extLst>
          </p:cNvPr>
          <p:cNvPicPr>
            <a:picLocks noChangeAspect="1"/>
          </p:cNvPicPr>
          <p:nvPr/>
        </p:nvPicPr>
        <p:blipFill>
          <a:blip r:embed="rId3"/>
          <a:srcRect/>
          <a:stretch/>
        </p:blipFill>
        <p:spPr>
          <a:xfrm>
            <a:off x="651105" y="3941877"/>
            <a:ext cx="568032" cy="580656"/>
          </a:xfrm>
          <a:prstGeom prst="rect">
            <a:avLst/>
          </a:prstGeom>
        </p:spPr>
      </p:pic>
      <p:pic>
        <p:nvPicPr>
          <p:cNvPr id="6" name="Picture 5" descr="Icon&#10;&#10;Description automatically generated">
            <a:extLst>
              <a:ext uri="{FF2B5EF4-FFF2-40B4-BE49-F238E27FC236}">
                <a16:creationId xmlns:a16="http://schemas.microsoft.com/office/drawing/2014/main" id="{34EBA2A9-13BC-67E0-BB70-C241AEC37856}"/>
              </a:ext>
            </a:extLst>
          </p:cNvPr>
          <p:cNvPicPr>
            <a:picLocks noChangeAspect="1"/>
          </p:cNvPicPr>
          <p:nvPr/>
        </p:nvPicPr>
        <p:blipFill>
          <a:blip r:embed="rId4"/>
          <a:stretch>
            <a:fillRect/>
          </a:stretch>
        </p:blipFill>
        <p:spPr>
          <a:xfrm>
            <a:off x="651105" y="2848344"/>
            <a:ext cx="580656" cy="580656"/>
          </a:xfrm>
          <a:prstGeom prst="rect">
            <a:avLst/>
          </a:prstGeom>
        </p:spPr>
      </p:pic>
      <p:pic>
        <p:nvPicPr>
          <p:cNvPr id="8" name="Picture 7" descr="Logo, icon&#10;&#10;Description automatically generated">
            <a:extLst>
              <a:ext uri="{FF2B5EF4-FFF2-40B4-BE49-F238E27FC236}">
                <a16:creationId xmlns:a16="http://schemas.microsoft.com/office/drawing/2014/main" id="{A58B170F-A60D-F050-0CD0-961339DD5B90}"/>
              </a:ext>
            </a:extLst>
          </p:cNvPr>
          <p:cNvPicPr>
            <a:picLocks noChangeAspect="1"/>
          </p:cNvPicPr>
          <p:nvPr/>
        </p:nvPicPr>
        <p:blipFill>
          <a:blip r:embed="rId5"/>
          <a:stretch>
            <a:fillRect/>
          </a:stretch>
        </p:blipFill>
        <p:spPr>
          <a:xfrm>
            <a:off x="632344" y="4993538"/>
            <a:ext cx="580657" cy="580657"/>
          </a:xfrm>
          <a:prstGeom prst="rect">
            <a:avLst/>
          </a:prstGeom>
        </p:spPr>
      </p:pic>
      <p:sp>
        <p:nvSpPr>
          <p:cNvPr id="9" name="TextBox 8">
            <a:extLst>
              <a:ext uri="{FF2B5EF4-FFF2-40B4-BE49-F238E27FC236}">
                <a16:creationId xmlns:a16="http://schemas.microsoft.com/office/drawing/2014/main" id="{2657F872-4913-2273-9BF2-F58857C0D144}"/>
              </a:ext>
            </a:extLst>
          </p:cNvPr>
          <p:cNvSpPr txBox="1"/>
          <p:nvPr/>
        </p:nvSpPr>
        <p:spPr>
          <a:xfrm>
            <a:off x="591219" y="998334"/>
            <a:ext cx="9757467" cy="2308324"/>
          </a:xfrm>
          <a:prstGeom prst="rect">
            <a:avLst/>
          </a:prstGeom>
          <a:noFill/>
        </p:spPr>
        <p:txBody>
          <a:bodyPr wrap="square">
            <a:spAutoFit/>
          </a:bodyPr>
          <a:lstStyle/>
          <a:p>
            <a:pPr defTabSz="1219170">
              <a:lnSpc>
                <a:spcPct val="100000"/>
              </a:lnSpc>
              <a:spcBef>
                <a:spcPts val="0"/>
              </a:spcBef>
              <a:buClr>
                <a:srgbClr val="000000"/>
              </a:buClr>
            </a:pPr>
            <a:endParaRPr lang="en-US" sz="2400" i="1" kern="0">
              <a:solidFill>
                <a:srgbClr val="0E4681"/>
              </a:solidFill>
              <a:latin typeface="Arial"/>
              <a:cs typeface="Arial"/>
              <a:sym typeface="Arial"/>
              <a:hlinkClick r:id="rId6">
                <a:extLst>
                  <a:ext uri="{A12FA001-AC4F-418D-AE19-62706E023703}">
                    <ahyp:hlinkClr xmlns:ahyp="http://schemas.microsoft.com/office/drawing/2018/hyperlinkcolor" val="tx"/>
                  </a:ext>
                </a:extLst>
              </a:hlinkClick>
            </a:endParaRPr>
          </a:p>
          <a:p>
            <a:pPr defTabSz="1219170">
              <a:lnSpc>
                <a:spcPct val="100000"/>
              </a:lnSpc>
              <a:spcBef>
                <a:spcPts val="0"/>
              </a:spcBef>
              <a:buClr>
                <a:srgbClr val="000000"/>
              </a:buClr>
            </a:pPr>
            <a:r>
              <a:rPr lang="en-US" sz="2400" i="1" kern="0">
                <a:solidFill>
                  <a:srgbClr val="0E4681"/>
                </a:solidFill>
                <a:latin typeface="Arial"/>
                <a:cs typeface="Arial"/>
                <a:sym typeface="Arial"/>
                <a:hlinkClick r:id="rId6">
                  <a:extLst>
                    <a:ext uri="{A12FA001-AC4F-418D-AE19-62706E023703}">
                      <ahyp:hlinkClr xmlns:ahyp="http://schemas.microsoft.com/office/drawing/2018/hyperlinkcolor" val="tx"/>
                    </a:ext>
                  </a:extLst>
                </a:hlinkClick>
              </a:rPr>
              <a:t>www.neuconcrete.org</a:t>
            </a:r>
            <a:endParaRPr lang="en-US" sz="2400" i="1" kern="0">
              <a:solidFill>
                <a:srgbClr val="0E4681"/>
              </a:solidFill>
              <a:latin typeface="Arial"/>
              <a:cs typeface="Arial"/>
              <a:sym typeface="Arial"/>
            </a:endParaRPr>
          </a:p>
          <a:p>
            <a:pPr defTabSz="1219170">
              <a:lnSpc>
                <a:spcPct val="100000"/>
              </a:lnSpc>
              <a:spcBef>
                <a:spcPts val="0"/>
              </a:spcBef>
              <a:buClr>
                <a:srgbClr val="000000"/>
              </a:buClr>
            </a:pPr>
            <a:endParaRPr lang="en-US" sz="2400" i="1" kern="0">
              <a:solidFill>
                <a:srgbClr val="0E4681"/>
              </a:solidFill>
              <a:latin typeface="Arial"/>
              <a:cs typeface="Arial"/>
              <a:sym typeface="Arial"/>
            </a:endParaRPr>
          </a:p>
          <a:p>
            <a:pPr defTabSz="1219170">
              <a:lnSpc>
                <a:spcPct val="100000"/>
              </a:lnSpc>
              <a:spcBef>
                <a:spcPts val="0"/>
              </a:spcBef>
              <a:buClr>
                <a:srgbClr val="000000"/>
              </a:buClr>
            </a:pPr>
            <a:r>
              <a:rPr lang="en-US" sz="2400" i="1" kern="0">
                <a:solidFill>
                  <a:srgbClr val="0E4681"/>
                </a:solidFill>
                <a:latin typeface="Arial"/>
                <a:cs typeface="Arial"/>
                <a:sym typeface="Arial"/>
                <a:hlinkClick r:id="rId7">
                  <a:extLst>
                    <a:ext uri="{A12FA001-AC4F-418D-AE19-62706E023703}">
                      <ahyp:hlinkClr xmlns:ahyp="http://schemas.microsoft.com/office/drawing/2018/hyperlinkcolor" val="tx"/>
                    </a:ext>
                  </a:extLst>
                </a:hlinkClick>
              </a:rPr>
              <a:t>info@neuconcrete.org</a:t>
            </a:r>
            <a:endParaRPr lang="en-US" sz="2400" i="1" kern="0">
              <a:solidFill>
                <a:srgbClr val="0E4681"/>
              </a:solidFill>
              <a:latin typeface="Arial"/>
              <a:cs typeface="Arial"/>
              <a:sym typeface="Arial"/>
            </a:endParaRPr>
          </a:p>
          <a:p>
            <a:pPr defTabSz="1219170">
              <a:lnSpc>
                <a:spcPct val="100000"/>
              </a:lnSpc>
              <a:spcBef>
                <a:spcPts val="0"/>
              </a:spcBef>
              <a:buClr>
                <a:srgbClr val="000000"/>
              </a:buClr>
            </a:pPr>
            <a:r>
              <a:rPr lang="en-US" sz="2400" i="1" kern="0">
                <a:solidFill>
                  <a:srgbClr val="0E4681"/>
                </a:solidFill>
                <a:latin typeface="Arial"/>
                <a:cs typeface="Arial"/>
                <a:sym typeface="Arial"/>
              </a:rPr>
              <a:t> </a:t>
            </a:r>
          </a:p>
          <a:p>
            <a:pPr defTabSz="1219170">
              <a:lnSpc>
                <a:spcPct val="100000"/>
              </a:lnSpc>
              <a:spcBef>
                <a:spcPts val="0"/>
              </a:spcBef>
              <a:buClr>
                <a:srgbClr val="000000"/>
              </a:buClr>
            </a:pPr>
            <a:endParaRPr lang="en-US" sz="2400" i="1" kern="0">
              <a:solidFill>
                <a:srgbClr val="0E4681"/>
              </a:solidFill>
              <a:latin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2" name="Title 1">
            <a:extLst>
              <a:ext uri="{FF2B5EF4-FFF2-40B4-BE49-F238E27FC236}">
                <a16:creationId xmlns:a16="http://schemas.microsoft.com/office/drawing/2014/main" id="{92445B4B-172C-5316-CAF4-C2256E1206B9}"/>
              </a:ext>
            </a:extLst>
          </p:cNvPr>
          <p:cNvSpPr>
            <a:spLocks noGrp="1"/>
          </p:cNvSpPr>
          <p:nvPr>
            <p:ph type="title"/>
          </p:nvPr>
        </p:nvSpPr>
        <p:spPr>
          <a:xfrm>
            <a:off x="797627" y="657092"/>
            <a:ext cx="3971927" cy="973013"/>
          </a:xfrm>
        </p:spPr>
        <p:txBody>
          <a:bodyPr/>
          <a:lstStyle/>
          <a:p>
            <a:r>
              <a:rPr lang="en-US" dirty="0">
                <a:ea typeface="ＭＳ Ｐゴシック" pitchFamily="-110" charset="-128"/>
              </a:rPr>
              <a:t>Presentation Notes</a:t>
            </a:r>
            <a:endParaRPr lang="en-US" dirty="0"/>
          </a:p>
        </p:txBody>
      </p:sp>
      <p:sp>
        <p:nvSpPr>
          <p:cNvPr id="3" name="Text Placeholder 2">
            <a:extLst>
              <a:ext uri="{FF2B5EF4-FFF2-40B4-BE49-F238E27FC236}">
                <a16:creationId xmlns:a16="http://schemas.microsoft.com/office/drawing/2014/main" id="{B26F1B51-620B-D83C-8AEA-73CEF6B90A93}"/>
              </a:ext>
            </a:extLst>
          </p:cNvPr>
          <p:cNvSpPr>
            <a:spLocks noGrp="1"/>
          </p:cNvSpPr>
          <p:nvPr>
            <p:ph type="body" idx="1"/>
          </p:nvPr>
        </p:nvSpPr>
        <p:spPr>
          <a:xfrm>
            <a:off x="797627" y="2916616"/>
            <a:ext cx="6680133" cy="3941384"/>
          </a:xfrm>
        </p:spPr>
        <p:txBody>
          <a:bodyPr/>
          <a:lstStyle/>
          <a:p>
            <a:r>
              <a:rPr lang="en-US" sz="2667" dirty="0">
                <a:solidFill>
                  <a:srgbClr val="0E4681"/>
                </a:solidFill>
                <a:latin typeface="Calibri" panose="020F0502020204030204" pitchFamily="34" charset="0"/>
                <a:ea typeface="Calibri" panose="020F0502020204030204" pitchFamily="34" charset="0"/>
              </a:rPr>
              <a:t>Find presentation slides and post event recording at: </a:t>
            </a:r>
          </a:p>
          <a:p>
            <a:pPr lvl="1"/>
            <a:r>
              <a:rPr lang="en-US" sz="2667" dirty="0">
                <a:solidFill>
                  <a:srgbClr val="0E4681"/>
                </a:solidFill>
                <a:latin typeface="Calibri" panose="020F0502020204030204" pitchFamily="34" charset="0"/>
                <a:ea typeface="Calibri" panose="020F0502020204030204" pitchFamily="34" charset="0"/>
                <a:hlinkClick r:id="rId3"/>
              </a:rPr>
              <a:t>https://www.neuconcrete.org/events-and-education</a:t>
            </a:r>
            <a:endParaRPr lang="en-US" sz="2667" dirty="0">
              <a:solidFill>
                <a:srgbClr val="0E4681"/>
              </a:solidFill>
              <a:latin typeface="Calibri" panose="020F0502020204030204" pitchFamily="34" charset="0"/>
              <a:ea typeface="Calibri" panose="020F0502020204030204" pitchFamily="34" charset="0"/>
            </a:endParaRPr>
          </a:p>
          <a:p>
            <a:r>
              <a:rPr lang="en-US" sz="2667" dirty="0">
                <a:solidFill>
                  <a:srgbClr val="0E4681"/>
                </a:solidFill>
                <a:latin typeface="Calibri" panose="020F0502020204030204" pitchFamily="34" charset="0"/>
                <a:ea typeface="Calibri" panose="020F0502020204030204" pitchFamily="34" charset="0"/>
              </a:rPr>
              <a:t>Attendees are in listen only mode. </a:t>
            </a:r>
          </a:p>
          <a:p>
            <a:r>
              <a:rPr lang="en-US" sz="2667" dirty="0">
                <a:solidFill>
                  <a:srgbClr val="0E4681"/>
                </a:solidFill>
                <a:latin typeface="Calibri" panose="020F0502020204030204" pitchFamily="34" charset="0"/>
                <a:ea typeface="Calibri" panose="020F0502020204030204" pitchFamily="34" charset="0"/>
              </a:rPr>
              <a:t>Ask questions via the Q&amp;A dialog box in the zoom platform </a:t>
            </a:r>
          </a:p>
          <a:p>
            <a:endParaRPr lang="en-US" sz="2667" dirty="0"/>
          </a:p>
        </p:txBody>
      </p:sp>
      <p:pic>
        <p:nvPicPr>
          <p:cNvPr id="22" name="Graphic 21" descr="Questions outline">
            <a:extLst>
              <a:ext uri="{FF2B5EF4-FFF2-40B4-BE49-F238E27FC236}">
                <a16:creationId xmlns:a16="http://schemas.microsoft.com/office/drawing/2014/main" id="{19DC4FF9-F6A3-FF98-AB52-7E8549E695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74848" y="1630106"/>
            <a:ext cx="3819525" cy="3819525"/>
          </a:xfrm>
          <a:prstGeom prst="rect">
            <a:avLst/>
          </a:prstGeom>
        </p:spPr>
      </p:pic>
    </p:spTree>
    <p:extLst>
      <p:ext uri="{BB962C8B-B14F-4D97-AF65-F5344CB8AC3E}">
        <p14:creationId xmlns:p14="http://schemas.microsoft.com/office/powerpoint/2010/main" val="4065480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C86411E-BB29-6F71-496D-96B979A68357}"/>
              </a:ext>
            </a:extLst>
          </p:cNvPr>
          <p:cNvSpPr>
            <a:spLocks noGrp="1"/>
          </p:cNvSpPr>
          <p:nvPr>
            <p:ph type="ctrTitle"/>
          </p:nvPr>
        </p:nvSpPr>
        <p:spPr>
          <a:xfrm>
            <a:off x="1103629" y="-1193800"/>
            <a:ext cx="9144000" cy="2387600"/>
          </a:xfrm>
        </p:spPr>
        <p:txBody>
          <a:bodyPr/>
          <a:lstStyle/>
          <a:p>
            <a:pPr algn="l"/>
            <a:r>
              <a:rPr lang="en-US" dirty="0"/>
              <a:t>Disclaimer</a:t>
            </a:r>
          </a:p>
        </p:txBody>
      </p:sp>
      <p:sp>
        <p:nvSpPr>
          <p:cNvPr id="7" name="TextBox 6">
            <a:extLst>
              <a:ext uri="{FF2B5EF4-FFF2-40B4-BE49-F238E27FC236}">
                <a16:creationId xmlns:a16="http://schemas.microsoft.com/office/drawing/2014/main" id="{ECF7C447-809B-FDBC-609D-44B938432B71}"/>
              </a:ext>
            </a:extLst>
          </p:cNvPr>
          <p:cNvSpPr txBox="1"/>
          <p:nvPr/>
        </p:nvSpPr>
        <p:spPr>
          <a:xfrm>
            <a:off x="1000125" y="1647826"/>
            <a:ext cx="9858375" cy="4607095"/>
          </a:xfrm>
          <a:prstGeom prst="rect">
            <a:avLst/>
          </a:prstGeom>
          <a:noFill/>
        </p:spPr>
        <p:txBody>
          <a:bodyPr wrap="square" rtlCol="0">
            <a:spAutoFit/>
          </a:bodyPr>
          <a:lstStyle/>
          <a:p>
            <a:pPr defTabSz="1219170">
              <a:lnSpc>
                <a:spcPct val="100000"/>
              </a:lnSpc>
              <a:spcBef>
                <a:spcPts val="0"/>
              </a:spcBef>
              <a:buClr>
                <a:srgbClr val="000000"/>
              </a:buClr>
            </a:pPr>
            <a:r>
              <a:rPr lang="en-US" sz="2667" kern="0" dirty="0">
                <a:solidFill>
                  <a:srgbClr val="FFFFFF"/>
                </a:solidFill>
                <a:latin typeface="Arial"/>
                <a:cs typeface="Arial"/>
                <a:sym typeface="Arial"/>
              </a:rPr>
              <a:t>As with all concrete mixtures, trial batches should be performed to verify concrete properties.  Results may vary due to a variety of circumstances, including temperature and mixture components, among other things.  </a:t>
            </a:r>
          </a:p>
          <a:p>
            <a:pPr defTabSz="1219170">
              <a:lnSpc>
                <a:spcPct val="100000"/>
              </a:lnSpc>
              <a:spcBef>
                <a:spcPts val="0"/>
              </a:spcBef>
              <a:buClr>
                <a:srgbClr val="000000"/>
              </a:buClr>
            </a:pPr>
            <a:endParaRPr lang="en-US" sz="2667" kern="0" dirty="0">
              <a:solidFill>
                <a:srgbClr val="FFFFFF"/>
              </a:solidFill>
              <a:latin typeface="Arial"/>
              <a:cs typeface="Arial"/>
              <a:sym typeface="Arial"/>
            </a:endParaRPr>
          </a:p>
          <a:p>
            <a:pPr defTabSz="1219170">
              <a:lnSpc>
                <a:spcPct val="100000"/>
              </a:lnSpc>
              <a:spcBef>
                <a:spcPts val="0"/>
              </a:spcBef>
              <a:buClr>
                <a:srgbClr val="000000"/>
              </a:buClr>
            </a:pPr>
            <a:r>
              <a:rPr lang="en-US" sz="2667" kern="0" dirty="0">
                <a:solidFill>
                  <a:srgbClr val="FFFFFF"/>
                </a:solidFill>
                <a:latin typeface="Arial"/>
                <a:cs typeface="Arial"/>
                <a:sym typeface="Arial"/>
              </a:rPr>
              <a:t>You should consult your materials, cement, and concrete professionals for design assistance.  Nothing contained herein shall be considered or construed as a warranty or guarantee, either expressed or implied, including any warranty of fitness for a particular purpose. </a:t>
            </a:r>
          </a:p>
          <a:p>
            <a:pPr defTabSz="1219170">
              <a:lnSpc>
                <a:spcPct val="100000"/>
              </a:lnSpc>
              <a:spcBef>
                <a:spcPts val="0"/>
              </a:spcBef>
              <a:buClr>
                <a:srgbClr val="000000"/>
              </a:buClr>
            </a:pPr>
            <a:endParaRPr lang="en-US" sz="2667" kern="0" dirty="0">
              <a:solidFill>
                <a:srgbClr val="000000"/>
              </a:solidFill>
              <a:latin typeface="Arial"/>
              <a:cs typeface="Arial"/>
              <a:sym typeface="Arial"/>
            </a:endParaRPr>
          </a:p>
        </p:txBody>
      </p:sp>
    </p:spTree>
    <p:extLst>
      <p:ext uri="{BB962C8B-B14F-4D97-AF65-F5344CB8AC3E}">
        <p14:creationId xmlns:p14="http://schemas.microsoft.com/office/powerpoint/2010/main" val="3610661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450C9-874D-A278-B168-FCB1BAC52A69}"/>
              </a:ext>
            </a:extLst>
          </p:cNvPr>
          <p:cNvSpPr>
            <a:spLocks noGrp="1"/>
          </p:cNvSpPr>
          <p:nvPr>
            <p:ph type="title"/>
          </p:nvPr>
        </p:nvSpPr>
        <p:spPr>
          <a:xfrm>
            <a:off x="685800" y="-743084"/>
            <a:ext cx="7315200" cy="241920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3200" dirty="0"/>
              <a:t>Presentation Overview</a:t>
            </a:r>
          </a:p>
        </p:txBody>
      </p:sp>
      <p:sp>
        <p:nvSpPr>
          <p:cNvPr id="7" name="Google Shape;209;p21">
            <a:extLst>
              <a:ext uri="{FF2B5EF4-FFF2-40B4-BE49-F238E27FC236}">
                <a16:creationId xmlns:a16="http://schemas.microsoft.com/office/drawing/2014/main" id="{807D4440-5993-18D0-ED30-3D871CE6E5AE}"/>
              </a:ext>
            </a:extLst>
          </p:cNvPr>
          <p:cNvSpPr txBox="1">
            <a:spLocks/>
          </p:cNvSpPr>
          <p:nvPr/>
        </p:nvSpPr>
        <p:spPr>
          <a:xfrm>
            <a:off x="1396164" y="1117675"/>
            <a:ext cx="9399639" cy="411971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30200" algn="l" rtl="0">
              <a:lnSpc>
                <a:spcPct val="115000"/>
              </a:lnSpc>
              <a:spcBef>
                <a:spcPts val="600"/>
              </a:spcBef>
              <a:spcAft>
                <a:spcPts val="0"/>
              </a:spcAft>
              <a:buClr>
                <a:schemeClr val="accent1"/>
              </a:buClr>
              <a:buSzPts val="1600"/>
              <a:buFont typeface="Chivo"/>
              <a:buChar char="▰"/>
              <a:defRPr sz="1600" b="0" i="0" u="none" strike="noStrike" cap="none">
                <a:solidFill>
                  <a:schemeClr val="dk1"/>
                </a:solidFill>
                <a:latin typeface="Chivo"/>
                <a:ea typeface="Chivo"/>
                <a:cs typeface="Chivo"/>
                <a:sym typeface="Chivo"/>
              </a:defRPr>
            </a:lvl1pPr>
            <a:lvl2pPr marL="914400" marR="0" lvl="1" indent="-330200" algn="l" rtl="0">
              <a:lnSpc>
                <a:spcPct val="115000"/>
              </a:lnSpc>
              <a:spcBef>
                <a:spcPts val="0"/>
              </a:spcBef>
              <a:spcAft>
                <a:spcPts val="0"/>
              </a:spcAft>
              <a:buClr>
                <a:schemeClr val="accent5"/>
              </a:buClr>
              <a:buSzPts val="1600"/>
              <a:buFont typeface="Chivo"/>
              <a:buChar char="▰"/>
              <a:defRPr sz="1600" b="0" i="0" u="none" strike="noStrike" cap="none">
                <a:solidFill>
                  <a:schemeClr val="dk1"/>
                </a:solidFill>
                <a:latin typeface="Chivo"/>
                <a:ea typeface="Chivo"/>
                <a:cs typeface="Chivo"/>
                <a:sym typeface="Chivo"/>
              </a:defRPr>
            </a:lvl2pPr>
            <a:lvl3pPr marL="1371600" marR="0" lvl="2" indent="-330200" algn="l" rtl="0">
              <a:lnSpc>
                <a:spcPct val="115000"/>
              </a:lnSpc>
              <a:spcBef>
                <a:spcPts val="0"/>
              </a:spcBef>
              <a:spcAft>
                <a:spcPts val="0"/>
              </a:spcAft>
              <a:buClr>
                <a:schemeClr val="accent5"/>
              </a:buClr>
              <a:buSzPts val="1600"/>
              <a:buFont typeface="Chivo"/>
              <a:buChar char="▰"/>
              <a:defRPr sz="1600" b="0" i="0" u="none" strike="noStrike" cap="none">
                <a:solidFill>
                  <a:schemeClr val="dk1"/>
                </a:solidFill>
                <a:latin typeface="Chivo"/>
                <a:ea typeface="Chivo"/>
                <a:cs typeface="Chivo"/>
                <a:sym typeface="Chivo"/>
              </a:defRPr>
            </a:lvl3pPr>
            <a:lvl4pPr marL="1828800" marR="0" lvl="3"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4pPr>
            <a:lvl5pPr marL="2286000" marR="0" lvl="4"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5pPr>
            <a:lvl6pPr marL="2743200" marR="0" lvl="5"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6pPr>
            <a:lvl7pPr marL="3200400" marR="0" lvl="6"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7pPr>
            <a:lvl8pPr marL="3657600" marR="0" lvl="7"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8pPr>
            <a:lvl9pPr marL="4114800" marR="0" lvl="8" indent="-330200" algn="l" rtl="0">
              <a:lnSpc>
                <a:spcPct val="115000"/>
              </a:lnSpc>
              <a:spcBef>
                <a:spcPts val="0"/>
              </a:spcBef>
              <a:spcAft>
                <a:spcPts val="0"/>
              </a:spcAft>
              <a:buClr>
                <a:schemeClr val="dk1"/>
              </a:buClr>
              <a:buSzPts val="1600"/>
              <a:buFont typeface="Chivo"/>
              <a:buChar char="▰"/>
              <a:defRPr sz="1600" b="0" i="0" u="none" strike="noStrike" cap="none">
                <a:solidFill>
                  <a:schemeClr val="dk1"/>
                </a:solidFill>
                <a:latin typeface="Chivo"/>
                <a:ea typeface="Chivo"/>
                <a:cs typeface="Chivo"/>
                <a:sym typeface="Chivo"/>
              </a:defRPr>
            </a:lvl9pPr>
          </a:lstStyle>
          <a:p>
            <a:pPr marL="0" indent="0" defTabSz="1219170">
              <a:spcBef>
                <a:spcPts val="0"/>
              </a:spcBef>
              <a:buClr>
                <a:srgbClr val="A6D683"/>
              </a:buClr>
              <a:buNone/>
              <a:defRPr/>
            </a:pPr>
            <a:r>
              <a:rPr lang="en-US" sz="2400" kern="0" dirty="0">
                <a:solidFill>
                  <a:srgbClr val="00001A"/>
                </a:solidFill>
                <a:latin typeface="Calibri" panose="020F0502020204030204" pitchFamily="34" charset="0"/>
                <a:ea typeface="Calibri" panose="020F0502020204030204" pitchFamily="34" charset="0"/>
              </a:rPr>
              <a:t>Ignacio Cariaga, commercial sustainability director with Heidelberg Materials, will attempt to provide the audience with some answers to the thought-provoking question: Does the concrete industry have a pathway to net zero concrete today without using offsets? Although the presentation will focus on Heidelberg Materials’ Carbon Capture Utilization and Storage (CCUS) in Edmonton, Alberta, Canada, it will also indicate that there is no single technology, lever, nor single company that can achieve net zero concrete without proper education, collaboration and advocacy work to ultimately change building codes. Technology readiness levels prove that the market might be ready for net zero concrete today … are you?</a:t>
            </a:r>
          </a:p>
          <a:p>
            <a:pPr marL="0" indent="0" algn="ctr" defTabSz="1219170">
              <a:spcBef>
                <a:spcPts val="0"/>
              </a:spcBef>
              <a:buClr>
                <a:srgbClr val="A6D683"/>
              </a:buClr>
              <a:buNone/>
              <a:defRPr/>
            </a:pPr>
            <a:endParaRPr lang="en-US" sz="2667" kern="0" dirty="0">
              <a:solidFill>
                <a:srgbClr val="00001A"/>
              </a:solidFill>
            </a:endParaRPr>
          </a:p>
        </p:txBody>
      </p:sp>
    </p:spTree>
    <p:extLst>
      <p:ext uri="{BB962C8B-B14F-4D97-AF65-F5344CB8AC3E}">
        <p14:creationId xmlns:p14="http://schemas.microsoft.com/office/powerpoint/2010/main" val="2344233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450C9-874D-A278-B168-FCB1BAC52A69}"/>
              </a:ext>
            </a:extLst>
          </p:cNvPr>
          <p:cNvSpPr>
            <a:spLocks noGrp="1"/>
          </p:cNvSpPr>
          <p:nvPr>
            <p:ph type="title"/>
          </p:nvPr>
        </p:nvSpPr>
        <p:spPr>
          <a:xfrm>
            <a:off x="685800" y="-743084"/>
            <a:ext cx="7315200" cy="241920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3200" dirty="0"/>
              <a:t>Today’s Speaker</a:t>
            </a:r>
          </a:p>
        </p:txBody>
      </p:sp>
      <p:sp>
        <p:nvSpPr>
          <p:cNvPr id="6" name="Text Placeholder 3">
            <a:extLst>
              <a:ext uri="{FF2B5EF4-FFF2-40B4-BE49-F238E27FC236}">
                <a16:creationId xmlns:a16="http://schemas.microsoft.com/office/drawing/2014/main" id="{D2E5308B-2F49-0A3B-0BEF-839BC9373D28}"/>
              </a:ext>
            </a:extLst>
          </p:cNvPr>
          <p:cNvSpPr>
            <a:spLocks noGrp="1"/>
          </p:cNvSpPr>
          <p:nvPr>
            <p:ph type="body" idx="2"/>
          </p:nvPr>
        </p:nvSpPr>
        <p:spPr>
          <a:xfrm>
            <a:off x="2949678" y="1229998"/>
            <a:ext cx="8399044" cy="4833919"/>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69329" indent="0">
              <a:buNone/>
            </a:pPr>
            <a:r>
              <a:rPr lang="en-US" sz="2000" b="1" dirty="0">
                <a:solidFill>
                  <a:schemeClr val="tx1"/>
                </a:solidFill>
                <a:effectLst/>
                <a:latin typeface="+mn-lt"/>
                <a:ea typeface="Calibri" panose="020F0502020204030204" pitchFamily="34" charset="0"/>
                <a:cs typeface="Times New Roman" panose="02020603050405020304" pitchFamily="18" charset="0"/>
              </a:rPr>
              <a:t>Ignacio Cariaga</a:t>
            </a:r>
            <a:r>
              <a:rPr lang="en-US" sz="2000" b="1" dirty="0">
                <a:latin typeface="+mj-lt"/>
              </a:rPr>
              <a:t>, </a:t>
            </a:r>
            <a:r>
              <a:rPr lang="en-US" sz="2000" b="1" i="0" dirty="0">
                <a:effectLst/>
                <a:latin typeface="+mj-lt"/>
              </a:rPr>
              <a:t>P. Eng. MBA</a:t>
            </a:r>
            <a:endParaRPr lang="en-US" sz="2000" b="1" dirty="0">
              <a:latin typeface="+mj-lt"/>
            </a:endParaRPr>
          </a:p>
          <a:p>
            <a:pPr marL="169329" indent="0">
              <a:buNone/>
            </a:pPr>
            <a:endParaRPr lang="en-US" sz="1600" b="1" dirty="0"/>
          </a:p>
          <a:p>
            <a:pPr marL="169329" indent="0">
              <a:buNone/>
            </a:pPr>
            <a:r>
              <a:rPr lang="en-US" sz="1800" dirty="0">
                <a:solidFill>
                  <a:schemeClr val="tx1"/>
                </a:solidFill>
                <a:effectLst/>
                <a:latin typeface="+mn-lt"/>
                <a:ea typeface="Calibri" panose="020F0502020204030204" pitchFamily="34" charset="0"/>
                <a:cs typeface="Times New Roman" panose="02020603050405020304" pitchFamily="18" charset="0"/>
              </a:rPr>
              <a:t>Ignacio Cariaga is a Civil Engineer with over 25 years of experience in companies leading the cement and concrete construction industry. As Commercial Sustainability Director with </a:t>
            </a:r>
            <a:r>
              <a:rPr lang="en-US" sz="1800" dirty="0"/>
              <a:t>Heidelberg Materials, Ignacio is leading a team that is helping stakeholders throughout the concrete value chain to reduce embodied carbon in the built environment. Ignacio was co-founder of Carbon Leadership Forum in Alberta, Canada (CLF Alberta Hub) and active member of Canadian Precast Concrete Institute (CPCI) Sustainability Committee. He also represents Heidelberg Materials in materials CAN (Carbon Action Network) to help prioritize actions around the smart reductions of embodied carbon in building materials. He has extensive business development experiences and is passionate about understanding the construction market’s sustainability needs today to create lowest carbon solutions throughout the concrete value chain for tomorrow. </a:t>
            </a:r>
          </a:p>
          <a:p>
            <a:pPr marL="169329" indent="0">
              <a:buNone/>
            </a:pPr>
            <a:endParaRPr lang="en-US" sz="1600" dirty="0"/>
          </a:p>
        </p:txBody>
      </p:sp>
      <p:pic>
        <p:nvPicPr>
          <p:cNvPr id="3" name="Picture 2">
            <a:extLst>
              <a:ext uri="{FF2B5EF4-FFF2-40B4-BE49-F238E27FC236}">
                <a16:creationId xmlns:a16="http://schemas.microsoft.com/office/drawing/2014/main" id="{AC43BF45-EB9D-07C4-07C0-B2076F39C9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69984" y="978192"/>
            <a:ext cx="2441825" cy="2441825"/>
          </a:xfrm>
          <a:prstGeom prst="rect">
            <a:avLst/>
          </a:prstGeom>
        </p:spPr>
      </p:pic>
    </p:spTree>
    <p:extLst>
      <p:ext uri="{BB962C8B-B14F-4D97-AF65-F5344CB8AC3E}">
        <p14:creationId xmlns:p14="http://schemas.microsoft.com/office/powerpoint/2010/main" val="2113855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AF16F4-D739-18BA-A30D-BBD3EA267BD2}"/>
              </a:ext>
            </a:extLst>
          </p:cNvPr>
          <p:cNvGraphicFramePr>
            <a:graphicFrameLocks noChangeAspect="1"/>
          </p:cNvGraphicFramePr>
          <p:nvPr>
            <p:custDataLst>
              <p:tags r:id="rId1"/>
            </p:custDataLst>
            <p:extLst>
              <p:ext uri="{D42A27DB-BD31-4B8C-83A1-F6EECF244321}">
                <p14:modId xmlns:p14="http://schemas.microsoft.com/office/powerpoint/2010/main" val="95488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5" name="Object 4" hidden="1">
                        <a:extLst>
                          <a:ext uri="{FF2B5EF4-FFF2-40B4-BE49-F238E27FC236}">
                            <a16:creationId xmlns:a16="http://schemas.microsoft.com/office/drawing/2014/main" id="{AAAF16F4-D739-18BA-A30D-BBD3EA267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F225E66D-C9E2-7B41-AB97-AC7E30BF0F3F}"/>
              </a:ext>
            </a:extLst>
          </p:cNvPr>
          <p:cNvSpPr>
            <a:spLocks noGrp="1"/>
          </p:cNvSpPr>
          <p:nvPr>
            <p:ph type="title"/>
          </p:nvPr>
        </p:nvSpPr>
        <p:spPr>
          <a:xfrm>
            <a:off x="6192838" y="542123"/>
            <a:ext cx="5618162" cy="339901"/>
          </a:xfrm>
        </p:spPr>
        <p:txBody>
          <a:bodyPr vert="horz"/>
          <a:lstStyle/>
          <a:p>
            <a:r>
              <a:rPr lang="en-US" sz="2400" dirty="0"/>
              <a:t>Agenda</a:t>
            </a:r>
          </a:p>
        </p:txBody>
      </p:sp>
      <p:sp>
        <p:nvSpPr>
          <p:cNvPr id="4" name="Textplatzhalter 3">
            <a:extLst>
              <a:ext uri="{FF2B5EF4-FFF2-40B4-BE49-F238E27FC236}">
                <a16:creationId xmlns:a16="http://schemas.microsoft.com/office/drawing/2014/main" id="{D06F8F23-F1CD-989E-6B14-77F4D80A3A38}"/>
              </a:ext>
            </a:extLst>
          </p:cNvPr>
          <p:cNvSpPr>
            <a:spLocks noGrp="1"/>
          </p:cNvSpPr>
          <p:nvPr>
            <p:ph type="body" sz="quarter" idx="14"/>
          </p:nvPr>
        </p:nvSpPr>
        <p:spPr/>
        <p:txBody>
          <a:bodyPr/>
          <a:lstStyle/>
          <a:p>
            <a:r>
              <a:rPr lang="en-US" sz="1600" dirty="0"/>
              <a:t>Introduction to new brand Heidelberg Materials</a:t>
            </a:r>
          </a:p>
          <a:p>
            <a:endParaRPr lang="en-US" sz="1600" dirty="0"/>
          </a:p>
        </p:txBody>
      </p:sp>
      <p:sp>
        <p:nvSpPr>
          <p:cNvPr id="6" name="Textplatzhalter 5">
            <a:extLst>
              <a:ext uri="{FF2B5EF4-FFF2-40B4-BE49-F238E27FC236}">
                <a16:creationId xmlns:a16="http://schemas.microsoft.com/office/drawing/2014/main" id="{3B245100-2780-AACD-621F-08665B596B8C}"/>
              </a:ext>
            </a:extLst>
          </p:cNvPr>
          <p:cNvSpPr>
            <a:spLocks noGrp="1"/>
          </p:cNvSpPr>
          <p:nvPr>
            <p:ph type="body" sz="quarter" idx="16"/>
          </p:nvPr>
        </p:nvSpPr>
        <p:spPr/>
        <p:txBody>
          <a:bodyPr/>
          <a:lstStyle/>
          <a:p>
            <a:r>
              <a:rPr lang="en-US" sz="1600" dirty="0"/>
              <a:t>Multidimensional Approach to “carbon free concrete”</a:t>
            </a:r>
          </a:p>
        </p:txBody>
      </p:sp>
      <p:sp>
        <p:nvSpPr>
          <p:cNvPr id="8" name="Textplatzhalter 7">
            <a:extLst>
              <a:ext uri="{FF2B5EF4-FFF2-40B4-BE49-F238E27FC236}">
                <a16:creationId xmlns:a16="http://schemas.microsoft.com/office/drawing/2014/main" id="{E5ABEA41-083B-E505-1A2A-A05A1234BD8A}"/>
              </a:ext>
            </a:extLst>
          </p:cNvPr>
          <p:cNvSpPr>
            <a:spLocks noGrp="1"/>
          </p:cNvSpPr>
          <p:nvPr>
            <p:ph type="body" sz="quarter" idx="18"/>
          </p:nvPr>
        </p:nvSpPr>
        <p:spPr>
          <a:xfrm>
            <a:off x="6192838" y="3123501"/>
            <a:ext cx="5618162" cy="242597"/>
          </a:xfrm>
        </p:spPr>
        <p:txBody>
          <a:bodyPr/>
          <a:lstStyle/>
          <a:p>
            <a:r>
              <a:rPr lang="en-US" sz="1600" dirty="0"/>
              <a:t>Pathway example to carbon free concrete </a:t>
            </a:r>
          </a:p>
        </p:txBody>
      </p:sp>
      <p:sp>
        <p:nvSpPr>
          <p:cNvPr id="10" name="Textplatzhalter 9">
            <a:extLst>
              <a:ext uri="{FF2B5EF4-FFF2-40B4-BE49-F238E27FC236}">
                <a16:creationId xmlns:a16="http://schemas.microsoft.com/office/drawing/2014/main" id="{8CB3119D-5077-4554-82CE-560541CBE41D}"/>
              </a:ext>
            </a:extLst>
          </p:cNvPr>
          <p:cNvSpPr>
            <a:spLocks noGrp="1"/>
          </p:cNvSpPr>
          <p:nvPr>
            <p:ph type="body" sz="quarter" idx="20"/>
          </p:nvPr>
        </p:nvSpPr>
        <p:spPr>
          <a:xfrm>
            <a:off x="6192838" y="3805133"/>
            <a:ext cx="5801042" cy="339901"/>
          </a:xfrm>
        </p:spPr>
        <p:txBody>
          <a:bodyPr/>
          <a:lstStyle/>
          <a:p>
            <a:r>
              <a:rPr lang="en-US" sz="1600" dirty="0"/>
              <a:t>How can we </a:t>
            </a:r>
            <a:r>
              <a:rPr lang="en-US" sz="1600"/>
              <a:t>accelerate journey to </a:t>
            </a:r>
            <a:r>
              <a:rPr lang="en-US" sz="1600" dirty="0"/>
              <a:t>carbon free concrete?</a:t>
            </a:r>
          </a:p>
        </p:txBody>
      </p:sp>
      <p:sp>
        <p:nvSpPr>
          <p:cNvPr id="50" name="Picture Placeholder 49">
            <a:extLst>
              <a:ext uri="{FF2B5EF4-FFF2-40B4-BE49-F238E27FC236}">
                <a16:creationId xmlns:a16="http://schemas.microsoft.com/office/drawing/2014/main" id="{A416229A-08F8-9933-10C4-1E910D1B5DE4}"/>
              </a:ext>
            </a:extLst>
          </p:cNvPr>
          <p:cNvSpPr>
            <a:spLocks noGrp="1"/>
          </p:cNvSpPr>
          <p:nvPr>
            <p:ph type="pic" sz="quarter" idx="4294967295"/>
          </p:nvPr>
        </p:nvSpPr>
        <p:spPr>
          <a:xfrm>
            <a:off x="1025514" y="6410506"/>
            <a:ext cx="1062384" cy="103295"/>
          </a:xfrm>
        </p:spPr>
      </p:sp>
      <p:sp>
        <p:nvSpPr>
          <p:cNvPr id="7" name="Picture Placeholder 6">
            <a:extLst>
              <a:ext uri="{FF2B5EF4-FFF2-40B4-BE49-F238E27FC236}">
                <a16:creationId xmlns:a16="http://schemas.microsoft.com/office/drawing/2014/main" id="{BC480863-1787-4007-9101-012044622066}"/>
              </a:ext>
            </a:extLst>
          </p:cNvPr>
          <p:cNvSpPr>
            <a:spLocks noGrp="1"/>
          </p:cNvSpPr>
          <p:nvPr>
            <p:ph type="pic" sz="quarter" idx="13"/>
          </p:nvPr>
        </p:nvSpPr>
        <p:spPr/>
      </p:sp>
      <p:pic>
        <p:nvPicPr>
          <p:cNvPr id="15" name="Picture 14">
            <a:extLst>
              <a:ext uri="{FF2B5EF4-FFF2-40B4-BE49-F238E27FC236}">
                <a16:creationId xmlns:a16="http://schemas.microsoft.com/office/drawing/2014/main" id="{509037EB-4BAC-4B55-B901-1CCC1FBBAFCF}"/>
              </a:ext>
            </a:extLst>
          </p:cNvPr>
          <p:cNvPicPr>
            <a:picLocks noChangeAspect="1"/>
          </p:cNvPicPr>
          <p:nvPr/>
        </p:nvPicPr>
        <p:blipFill rotWithShape="1">
          <a:blip r:embed="rId6"/>
          <a:srcRect r="45965"/>
          <a:stretch/>
        </p:blipFill>
        <p:spPr>
          <a:xfrm>
            <a:off x="0" y="-1"/>
            <a:ext cx="5054650" cy="6857729"/>
          </a:xfrm>
          <a:prstGeom prst="rect">
            <a:avLst/>
          </a:prstGeom>
        </p:spPr>
      </p:pic>
    </p:spTree>
    <p:extLst>
      <p:ext uri="{BB962C8B-B14F-4D97-AF65-F5344CB8AC3E}">
        <p14:creationId xmlns:p14="http://schemas.microsoft.com/office/powerpoint/2010/main" val="3236243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AF16F4-D739-18BA-A30D-BBD3EA267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5" name="Object 4" hidden="1">
                        <a:extLst>
                          <a:ext uri="{FF2B5EF4-FFF2-40B4-BE49-F238E27FC236}">
                            <a16:creationId xmlns:a16="http://schemas.microsoft.com/office/drawing/2014/main" id="{AAAF16F4-D739-18BA-A30D-BBD3EA267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F225E66D-C9E2-7B41-AB97-AC7E30BF0F3F}"/>
              </a:ext>
            </a:extLst>
          </p:cNvPr>
          <p:cNvSpPr>
            <a:spLocks noGrp="1"/>
          </p:cNvSpPr>
          <p:nvPr>
            <p:ph type="title"/>
          </p:nvPr>
        </p:nvSpPr>
        <p:spPr>
          <a:xfrm>
            <a:off x="6192838" y="542123"/>
            <a:ext cx="5618162" cy="339901"/>
          </a:xfrm>
        </p:spPr>
        <p:txBody>
          <a:bodyPr vert="horz"/>
          <a:lstStyle/>
          <a:p>
            <a:r>
              <a:rPr lang="en-US" sz="2400" dirty="0"/>
              <a:t>Learning Objectives</a:t>
            </a:r>
          </a:p>
        </p:txBody>
      </p:sp>
      <p:sp>
        <p:nvSpPr>
          <p:cNvPr id="4" name="Textplatzhalter 3">
            <a:extLst>
              <a:ext uri="{FF2B5EF4-FFF2-40B4-BE49-F238E27FC236}">
                <a16:creationId xmlns:a16="http://schemas.microsoft.com/office/drawing/2014/main" id="{D06F8F23-F1CD-989E-6B14-77F4D80A3A38}"/>
              </a:ext>
            </a:extLst>
          </p:cNvPr>
          <p:cNvSpPr>
            <a:spLocks noGrp="1"/>
          </p:cNvSpPr>
          <p:nvPr>
            <p:ph type="body" sz="quarter" idx="14"/>
          </p:nvPr>
        </p:nvSpPr>
        <p:spPr/>
        <p:txBody>
          <a:bodyPr/>
          <a:lstStyle/>
          <a:p>
            <a:r>
              <a:rPr lang="en-US" sz="1600" dirty="0"/>
              <a:t>Is net zero concrete technology available today?</a:t>
            </a:r>
          </a:p>
          <a:p>
            <a:endParaRPr lang="en-US" sz="1600" dirty="0"/>
          </a:p>
        </p:txBody>
      </p:sp>
      <p:sp>
        <p:nvSpPr>
          <p:cNvPr id="8" name="Textplatzhalter 7">
            <a:extLst>
              <a:ext uri="{FF2B5EF4-FFF2-40B4-BE49-F238E27FC236}">
                <a16:creationId xmlns:a16="http://schemas.microsoft.com/office/drawing/2014/main" id="{E5ABEA41-083B-E505-1A2A-A05A1234BD8A}"/>
              </a:ext>
            </a:extLst>
          </p:cNvPr>
          <p:cNvSpPr>
            <a:spLocks noGrp="1"/>
          </p:cNvSpPr>
          <p:nvPr>
            <p:ph type="body" sz="quarter" idx="18"/>
          </p:nvPr>
        </p:nvSpPr>
        <p:spPr>
          <a:xfrm>
            <a:off x="6192838" y="2652261"/>
            <a:ext cx="5618162" cy="1766567"/>
          </a:xfrm>
        </p:spPr>
        <p:txBody>
          <a:bodyPr/>
          <a:lstStyle/>
          <a:p>
            <a:pPr>
              <a:buAutoNum type="arabicPeriod" startAt="2"/>
            </a:pPr>
            <a:r>
              <a:rPr lang="en-US" sz="1600" dirty="0"/>
              <a:t>Is there a single technology, company or application that can get us to net zero concrete?</a:t>
            </a:r>
          </a:p>
          <a:p>
            <a:pPr marL="0" indent="0">
              <a:buNone/>
            </a:pPr>
            <a:endParaRPr lang="en-US" sz="1600" dirty="0"/>
          </a:p>
          <a:p>
            <a:r>
              <a:rPr lang="en-US" sz="1600" dirty="0"/>
              <a:t>Who needs to participate in the pathway to net zero concrete?</a:t>
            </a:r>
          </a:p>
        </p:txBody>
      </p:sp>
      <p:sp>
        <p:nvSpPr>
          <p:cNvPr id="50" name="Picture Placeholder 49">
            <a:extLst>
              <a:ext uri="{FF2B5EF4-FFF2-40B4-BE49-F238E27FC236}">
                <a16:creationId xmlns:a16="http://schemas.microsoft.com/office/drawing/2014/main" id="{A416229A-08F8-9933-10C4-1E910D1B5DE4}"/>
              </a:ext>
            </a:extLst>
          </p:cNvPr>
          <p:cNvSpPr>
            <a:spLocks noGrp="1"/>
          </p:cNvSpPr>
          <p:nvPr>
            <p:ph type="pic" sz="quarter" idx="4294967295"/>
          </p:nvPr>
        </p:nvSpPr>
        <p:spPr>
          <a:xfrm>
            <a:off x="1025514" y="6410506"/>
            <a:ext cx="1062384" cy="103295"/>
          </a:xfrm>
        </p:spPr>
      </p:sp>
      <p:pic>
        <p:nvPicPr>
          <p:cNvPr id="24" name="Picture Placeholder 23" descr="A high angle view of a factory&#10;&#10;Description automatically generated with medium confidence">
            <a:extLst>
              <a:ext uri="{FF2B5EF4-FFF2-40B4-BE49-F238E27FC236}">
                <a16:creationId xmlns:a16="http://schemas.microsoft.com/office/drawing/2014/main" id="{0E86C47F-6CCE-4D6C-83FB-F0A8C07A67D3}"/>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val="0"/>
              </a:ext>
            </a:extLst>
          </a:blip>
          <a:srcRect l="29215" r="29215"/>
          <a:stretch>
            <a:fillRect/>
          </a:stretch>
        </p:blipFill>
        <p:spPr/>
      </p:pic>
    </p:spTree>
    <p:extLst>
      <p:ext uri="{BB962C8B-B14F-4D97-AF65-F5344CB8AC3E}">
        <p14:creationId xmlns:p14="http://schemas.microsoft.com/office/powerpoint/2010/main" val="3699036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ingle Corner Rectangle 21">
            <a:extLst>
              <a:ext uri="{FF2B5EF4-FFF2-40B4-BE49-F238E27FC236}">
                <a16:creationId xmlns:a16="http://schemas.microsoft.com/office/drawing/2014/main" id="{478D7671-FC72-A2E2-8651-D829F74869B6}"/>
              </a:ext>
            </a:extLst>
          </p:cNvPr>
          <p:cNvSpPr/>
          <p:nvPr/>
        </p:nvSpPr>
        <p:spPr>
          <a:xfrm flipV="1">
            <a:off x="7210155" y="4794330"/>
            <a:ext cx="1862970" cy="1552342"/>
          </a:xfrm>
          <a:prstGeom prst="round1Rect">
            <a:avLst>
              <a:gd name="adj" fmla="val 50000"/>
            </a:avLst>
          </a:prstGeom>
          <a:solidFill>
            <a:srgbClr val="00DD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2" dirty="0"/>
          </a:p>
        </p:txBody>
      </p:sp>
      <p:sp>
        <p:nvSpPr>
          <p:cNvPr id="13" name="Round Single Corner Rectangle 12">
            <a:extLst>
              <a:ext uri="{FF2B5EF4-FFF2-40B4-BE49-F238E27FC236}">
                <a16:creationId xmlns:a16="http://schemas.microsoft.com/office/drawing/2014/main" id="{04BC5958-FCA6-1E92-F937-E565B25E783B}"/>
              </a:ext>
            </a:extLst>
          </p:cNvPr>
          <p:cNvSpPr/>
          <p:nvPr/>
        </p:nvSpPr>
        <p:spPr>
          <a:xfrm flipH="1">
            <a:off x="4158983" y="1412475"/>
            <a:ext cx="5573871" cy="2518116"/>
          </a:xfrm>
          <a:prstGeom prst="round1Rect">
            <a:avLst>
              <a:gd name="adj" fmla="val 50000"/>
            </a:avLst>
          </a:prstGeom>
          <a:solidFill>
            <a:srgbClr val="3B58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2" dirty="0"/>
          </a:p>
        </p:txBody>
      </p:sp>
      <p:pic>
        <p:nvPicPr>
          <p:cNvPr id="17" name="Picture 16">
            <a:extLst>
              <a:ext uri="{FF2B5EF4-FFF2-40B4-BE49-F238E27FC236}">
                <a16:creationId xmlns:a16="http://schemas.microsoft.com/office/drawing/2014/main" id="{C9772D0E-7A36-B5B2-2A28-8C5EF645F853}"/>
              </a:ext>
            </a:extLst>
          </p:cNvPr>
          <p:cNvPicPr>
            <a:picLocks noChangeAspect="1"/>
          </p:cNvPicPr>
          <p:nvPr/>
        </p:nvPicPr>
        <p:blipFill>
          <a:blip r:embed="rId2"/>
          <a:stretch>
            <a:fillRect/>
          </a:stretch>
        </p:blipFill>
        <p:spPr>
          <a:xfrm>
            <a:off x="5357990" y="1811491"/>
            <a:ext cx="3757735" cy="799672"/>
          </a:xfrm>
          <a:prstGeom prst="rect">
            <a:avLst/>
          </a:prstGeom>
        </p:spPr>
      </p:pic>
      <p:grpSp>
        <p:nvGrpSpPr>
          <p:cNvPr id="21" name="Group 20">
            <a:extLst>
              <a:ext uri="{FF2B5EF4-FFF2-40B4-BE49-F238E27FC236}">
                <a16:creationId xmlns:a16="http://schemas.microsoft.com/office/drawing/2014/main" id="{A0C74175-9E5D-F7FC-D417-744DC9C0CE91}"/>
              </a:ext>
            </a:extLst>
          </p:cNvPr>
          <p:cNvGrpSpPr/>
          <p:nvPr/>
        </p:nvGrpSpPr>
        <p:grpSpPr>
          <a:xfrm>
            <a:off x="1929430" y="2760830"/>
            <a:ext cx="6943075" cy="2810067"/>
            <a:chOff x="1562100" y="3428998"/>
            <a:chExt cx="8472328" cy="3429001"/>
          </a:xfrm>
        </p:grpSpPr>
        <p:sp>
          <p:nvSpPr>
            <p:cNvPr id="18" name="Round Single Corner Rectangle 17">
              <a:extLst>
                <a:ext uri="{FF2B5EF4-FFF2-40B4-BE49-F238E27FC236}">
                  <a16:creationId xmlns:a16="http://schemas.microsoft.com/office/drawing/2014/main" id="{0B7AE374-1904-C930-FCF2-9D6C988EBA4C}"/>
                </a:ext>
              </a:extLst>
            </p:cNvPr>
            <p:cNvSpPr/>
            <p:nvPr/>
          </p:nvSpPr>
          <p:spPr>
            <a:xfrm flipH="1" flipV="1">
              <a:off x="1562100" y="3428998"/>
              <a:ext cx="7912100" cy="3429001"/>
            </a:xfrm>
            <a:prstGeom prst="round1Rect">
              <a:avLst>
                <a:gd name="adj" fmla="val 50000"/>
              </a:avLst>
            </a:prstGeom>
            <a:solidFill>
              <a:srgbClr val="014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2" dirty="0"/>
            </a:p>
          </p:txBody>
        </p:sp>
        <p:sp>
          <p:nvSpPr>
            <p:cNvPr id="19" name="TextBox 18">
              <a:extLst>
                <a:ext uri="{FF2B5EF4-FFF2-40B4-BE49-F238E27FC236}">
                  <a16:creationId xmlns:a16="http://schemas.microsoft.com/office/drawing/2014/main" id="{A72DC6A5-8313-F370-FFFE-7BE8EB10187C}"/>
                </a:ext>
              </a:extLst>
            </p:cNvPr>
            <p:cNvSpPr txBox="1"/>
            <p:nvPr/>
          </p:nvSpPr>
          <p:spPr>
            <a:xfrm>
              <a:off x="1841500" y="3534856"/>
              <a:ext cx="5562600" cy="771475"/>
            </a:xfrm>
            <a:prstGeom prst="rect">
              <a:avLst/>
            </a:prstGeom>
            <a:noFill/>
          </p:spPr>
          <p:txBody>
            <a:bodyPr wrap="square" rtlCol="0">
              <a:spAutoFit/>
            </a:bodyPr>
            <a:lstStyle/>
            <a:p>
              <a:r>
                <a:rPr lang="en-US" sz="3189" dirty="0">
                  <a:solidFill>
                    <a:schemeClr val="bg1"/>
                  </a:solidFill>
                  <a:latin typeface="Lexend Light"/>
                </a:rPr>
                <a:t>Is Transitioning To</a:t>
              </a:r>
            </a:p>
          </p:txBody>
        </p:sp>
        <p:sp>
          <p:nvSpPr>
            <p:cNvPr id="20" name="TextBox 19">
              <a:extLst>
                <a:ext uri="{FF2B5EF4-FFF2-40B4-BE49-F238E27FC236}">
                  <a16:creationId xmlns:a16="http://schemas.microsoft.com/office/drawing/2014/main" id="{E84EC880-EB89-876D-D047-1C063856C5D1}"/>
                </a:ext>
              </a:extLst>
            </p:cNvPr>
            <p:cNvSpPr txBox="1"/>
            <p:nvPr/>
          </p:nvSpPr>
          <p:spPr>
            <a:xfrm>
              <a:off x="5061740" y="5803049"/>
              <a:ext cx="4972688" cy="771475"/>
            </a:xfrm>
            <a:prstGeom prst="rect">
              <a:avLst/>
            </a:prstGeom>
            <a:noFill/>
          </p:spPr>
          <p:txBody>
            <a:bodyPr wrap="square" rtlCol="0">
              <a:spAutoFit/>
            </a:bodyPr>
            <a:lstStyle/>
            <a:p>
              <a:r>
                <a:rPr lang="en-US" sz="3189" dirty="0">
                  <a:solidFill>
                    <a:schemeClr val="bg1"/>
                  </a:solidFill>
                  <a:latin typeface="Lexend Light" pitchFamily="2" charset="77"/>
                </a:rPr>
                <a:t>In January 2023</a:t>
              </a:r>
            </a:p>
          </p:txBody>
        </p:sp>
        <p:pic>
          <p:nvPicPr>
            <p:cNvPr id="12" name="Picture 11">
              <a:extLst>
                <a:ext uri="{FF2B5EF4-FFF2-40B4-BE49-F238E27FC236}">
                  <a16:creationId xmlns:a16="http://schemas.microsoft.com/office/drawing/2014/main" id="{91863C09-3C90-80A6-9195-CDF7B4AD5587}"/>
                </a:ext>
              </a:extLst>
            </p:cNvPr>
            <p:cNvPicPr>
              <a:picLocks noChangeAspect="1"/>
            </p:cNvPicPr>
            <p:nvPr/>
          </p:nvPicPr>
          <p:blipFill>
            <a:blip r:embed="rId3"/>
            <a:srcRect/>
            <a:stretch/>
          </p:blipFill>
          <p:spPr>
            <a:xfrm>
              <a:off x="3381056" y="4375641"/>
              <a:ext cx="4972688" cy="1428891"/>
            </a:xfrm>
            <a:prstGeom prst="rect">
              <a:avLst/>
            </a:prstGeom>
          </p:spPr>
        </p:pic>
      </p:grpSp>
    </p:spTree>
    <p:extLst>
      <p:ext uri="{BB962C8B-B14F-4D97-AF65-F5344CB8AC3E}">
        <p14:creationId xmlns:p14="http://schemas.microsoft.com/office/powerpoint/2010/main" val="2828499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76EAF54-7247-6E47-8192-0CF3A74510CB}"/>
              </a:ext>
            </a:extLst>
          </p:cNvPr>
          <p:cNvSpPr/>
          <p:nvPr/>
        </p:nvSpPr>
        <p:spPr bwMode="gray">
          <a:xfrm>
            <a:off x="382588" y="1160463"/>
            <a:ext cx="3679825" cy="4759159"/>
          </a:xfrm>
          <a:prstGeom prst="rect">
            <a:avLst/>
          </a:prstGeom>
          <a:solidFill>
            <a:schemeClr val="bg2"/>
          </a:solidFill>
        </p:spPr>
        <p:txBody>
          <a:bodyPr wrap="square" lIns="0" tIns="0" rIns="0" bIns="0" rtlCol="0" anchor="ctr">
            <a:noAutofit/>
          </a:bodyPr>
          <a:lstStyle/>
          <a:p>
            <a:pPr algn="ctr"/>
            <a:endParaRPr lang="de-DE" noProof="0"/>
          </a:p>
        </p:txBody>
      </p:sp>
      <p:sp>
        <p:nvSpPr>
          <p:cNvPr id="15" name="Rechteck 14">
            <a:extLst>
              <a:ext uri="{FF2B5EF4-FFF2-40B4-BE49-F238E27FC236}">
                <a16:creationId xmlns:a16="http://schemas.microsoft.com/office/drawing/2014/main" id="{BEF5594B-48C2-4347-AFA0-A425D05F2F26}"/>
              </a:ext>
            </a:extLst>
          </p:cNvPr>
          <p:cNvSpPr/>
          <p:nvPr/>
        </p:nvSpPr>
        <p:spPr bwMode="gray">
          <a:xfrm>
            <a:off x="4260850" y="1154279"/>
            <a:ext cx="3676650" cy="4759159"/>
          </a:xfrm>
          <a:prstGeom prst="rect">
            <a:avLst/>
          </a:prstGeom>
          <a:solidFill>
            <a:schemeClr val="bg2"/>
          </a:solidFill>
        </p:spPr>
        <p:txBody>
          <a:bodyPr wrap="square" lIns="0" tIns="0" rIns="0" bIns="0" rtlCol="0" anchor="ctr">
            <a:noAutofit/>
          </a:bodyPr>
          <a:lstStyle/>
          <a:p>
            <a:pPr algn="ctr"/>
            <a:endParaRPr lang="de-DE" noProof="0"/>
          </a:p>
        </p:txBody>
      </p:sp>
      <p:sp>
        <p:nvSpPr>
          <p:cNvPr id="16" name="Rechteck 15">
            <a:extLst>
              <a:ext uri="{FF2B5EF4-FFF2-40B4-BE49-F238E27FC236}">
                <a16:creationId xmlns:a16="http://schemas.microsoft.com/office/drawing/2014/main" id="{0150CFBC-C912-BC4C-A425-FEBC5EC251EC}"/>
              </a:ext>
            </a:extLst>
          </p:cNvPr>
          <p:cNvSpPr/>
          <p:nvPr/>
        </p:nvSpPr>
        <p:spPr bwMode="gray">
          <a:xfrm>
            <a:off x="8132762" y="1161655"/>
            <a:ext cx="3679825" cy="4751784"/>
          </a:xfrm>
          <a:prstGeom prst="rect">
            <a:avLst/>
          </a:prstGeom>
          <a:solidFill>
            <a:schemeClr val="tx2"/>
          </a:solidFill>
        </p:spPr>
        <p:txBody>
          <a:bodyPr wrap="square" lIns="0" tIns="0" rIns="0" bIns="0" rtlCol="0" anchor="ctr">
            <a:noAutofit/>
          </a:bodyPr>
          <a:lstStyle/>
          <a:p>
            <a:pPr algn="ctr"/>
            <a:endParaRPr lang="de-DE" noProof="0">
              <a:solidFill>
                <a:schemeClr val="tx2"/>
              </a:solidFill>
            </a:endParaRPr>
          </a:p>
        </p:txBody>
      </p:sp>
      <p:sp>
        <p:nvSpPr>
          <p:cNvPr id="5" name="Titel 4">
            <a:extLst>
              <a:ext uri="{FF2B5EF4-FFF2-40B4-BE49-F238E27FC236}">
                <a16:creationId xmlns:a16="http://schemas.microsoft.com/office/drawing/2014/main" id="{529AC375-7560-5C8F-85CC-9E06B3E00ED7}"/>
              </a:ext>
            </a:extLst>
          </p:cNvPr>
          <p:cNvSpPr>
            <a:spLocks noGrp="1"/>
          </p:cNvSpPr>
          <p:nvPr>
            <p:ph type="title"/>
          </p:nvPr>
        </p:nvSpPr>
        <p:spPr/>
        <p:txBody>
          <a:bodyPr anchor="t" anchorCtr="0"/>
          <a:lstStyle/>
          <a:p>
            <a:r>
              <a:rPr lang="en-GB" dirty="0"/>
              <a:t>Heidelberg Materials </a:t>
            </a:r>
            <a:r>
              <a:rPr lang="en-GB" u="sng" dirty="0"/>
              <a:t>North America </a:t>
            </a:r>
            <a:endParaRPr lang="de-DE" u="sng" dirty="0"/>
          </a:p>
        </p:txBody>
      </p:sp>
      <p:sp>
        <p:nvSpPr>
          <p:cNvPr id="4" name="Foliennummernplatzhalter 3">
            <a:extLst>
              <a:ext uri="{FF2B5EF4-FFF2-40B4-BE49-F238E27FC236}">
                <a16:creationId xmlns:a16="http://schemas.microsoft.com/office/drawing/2014/main" id="{9C948E0C-94FD-5100-CFBC-5F57FC44800C}"/>
              </a:ext>
            </a:extLst>
          </p:cNvPr>
          <p:cNvSpPr>
            <a:spLocks noGrp="1"/>
          </p:cNvSpPr>
          <p:nvPr>
            <p:ph type="sldNum" sz="quarter" idx="17"/>
          </p:nvPr>
        </p:nvSpPr>
        <p:spPr/>
        <p:txBody>
          <a:bodyPr/>
          <a:lstStyle/>
          <a:p>
            <a:fld id="{A115CDC9-74CB-4F6C-8CD3-A6C89F254EE7}" type="slidenum">
              <a:rPr lang="en-US" smtClean="0"/>
              <a:pPr/>
              <a:t>9</a:t>
            </a:fld>
            <a:endParaRPr lang="en-US"/>
          </a:p>
        </p:txBody>
      </p:sp>
      <p:sp>
        <p:nvSpPr>
          <p:cNvPr id="65" name="Textfeld 7">
            <a:extLst>
              <a:ext uri="{FF2B5EF4-FFF2-40B4-BE49-F238E27FC236}">
                <a16:creationId xmlns:a16="http://schemas.microsoft.com/office/drawing/2014/main" id="{DF0642EB-687E-7E4D-A25E-1E67F1CA7FE3}"/>
              </a:ext>
            </a:extLst>
          </p:cNvPr>
          <p:cNvSpPr txBox="1"/>
          <p:nvPr/>
        </p:nvSpPr>
        <p:spPr>
          <a:xfrm>
            <a:off x="600315" y="3291792"/>
            <a:ext cx="3197395" cy="1715067"/>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de-DE" sz="7000" dirty="0">
                <a:solidFill>
                  <a:schemeClr val="accent3"/>
                </a:solidFill>
                <a:cs typeface="Calibri" panose="020F0502020204030204" pitchFamily="34" charset="0"/>
              </a:rPr>
              <a:t>~9,000</a:t>
            </a:r>
          </a:p>
          <a:p>
            <a:pPr algn="ctr"/>
            <a:r>
              <a:rPr lang="de-DE" sz="1600" dirty="0">
                <a:cs typeface="Calibri" panose="020F0502020204030204" pitchFamily="34" charset="0"/>
              </a:rPr>
              <a:t>employees </a:t>
            </a:r>
            <a:br>
              <a:rPr lang="de-DE" sz="1600" dirty="0">
                <a:cs typeface="Calibri" panose="020F0502020204030204" pitchFamily="34" charset="0"/>
              </a:rPr>
            </a:br>
            <a:r>
              <a:rPr lang="de-DE" sz="1600" dirty="0">
                <a:cs typeface="Calibri" panose="020F0502020204030204" pitchFamily="34" charset="0"/>
              </a:rPr>
              <a:t>in 28 states and 6 provinces </a:t>
            </a:r>
          </a:p>
        </p:txBody>
      </p:sp>
      <p:sp>
        <p:nvSpPr>
          <p:cNvPr id="83" name="Textfeld 15">
            <a:extLst>
              <a:ext uri="{FF2B5EF4-FFF2-40B4-BE49-F238E27FC236}">
                <a16:creationId xmlns:a16="http://schemas.microsoft.com/office/drawing/2014/main" id="{2B647CDE-C288-CE45-816D-C73E5FF0970C}"/>
              </a:ext>
            </a:extLst>
          </p:cNvPr>
          <p:cNvSpPr txBox="1"/>
          <p:nvPr/>
        </p:nvSpPr>
        <p:spPr>
          <a:xfrm>
            <a:off x="4405257" y="2941539"/>
            <a:ext cx="3305821" cy="2207509"/>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de-DE" sz="7000" dirty="0">
                <a:solidFill>
                  <a:schemeClr val="accent3"/>
                </a:solidFill>
                <a:cs typeface="Calibri" panose="020F0502020204030204" pitchFamily="34" charset="0"/>
              </a:rPr>
              <a:t>&gt;450</a:t>
            </a:r>
            <a:endParaRPr lang="de-DE" sz="7000" baseline="-25000" dirty="0">
              <a:solidFill>
                <a:schemeClr val="accent3"/>
              </a:solidFill>
              <a:cs typeface="Calibri" panose="020F0502020204030204" pitchFamily="34" charset="0"/>
            </a:endParaRPr>
          </a:p>
          <a:p>
            <a:pPr algn="ctr"/>
            <a:endParaRPr lang="de-DE" sz="1600" dirty="0"/>
          </a:p>
          <a:p>
            <a:pPr algn="ctr"/>
            <a:r>
              <a:rPr lang="de-DE" sz="1600" dirty="0"/>
              <a:t> manufacturing locations, distribution terminals and sales yards</a:t>
            </a:r>
          </a:p>
        </p:txBody>
      </p:sp>
      <p:sp>
        <p:nvSpPr>
          <p:cNvPr id="84" name="Textfeld 17">
            <a:extLst>
              <a:ext uri="{FF2B5EF4-FFF2-40B4-BE49-F238E27FC236}">
                <a16:creationId xmlns:a16="http://schemas.microsoft.com/office/drawing/2014/main" id="{A07FF137-310F-C942-B600-77F1E96A5C79}"/>
              </a:ext>
            </a:extLst>
          </p:cNvPr>
          <p:cNvSpPr txBox="1"/>
          <p:nvPr/>
        </p:nvSpPr>
        <p:spPr>
          <a:xfrm>
            <a:off x="8138131" y="3527616"/>
            <a:ext cx="3667125" cy="2361398"/>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en-US" sz="1600" b="1" dirty="0">
                <a:solidFill>
                  <a:schemeClr val="bg1"/>
                </a:solidFill>
                <a:latin typeface="+mj-lt"/>
                <a:cs typeface="Calibri" panose="020F0502020204030204" pitchFamily="34" charset="0"/>
              </a:rPr>
              <a:t>Leading positions in: </a:t>
            </a:r>
            <a:br>
              <a:rPr lang="en-US" sz="1600" b="1" dirty="0">
                <a:solidFill>
                  <a:schemeClr val="bg1"/>
                </a:solidFill>
                <a:latin typeface="+mj-lt"/>
                <a:cs typeface="Calibri" panose="020F0502020204030204" pitchFamily="34" charset="0"/>
              </a:rPr>
            </a:br>
            <a:r>
              <a:rPr lang="de-DE" sz="1600" b="1" dirty="0">
                <a:solidFill>
                  <a:schemeClr val="bg1"/>
                </a:solidFill>
                <a:latin typeface="+mj-lt"/>
                <a:cs typeface="Calibri" panose="020F0502020204030204" pitchFamily="34" charset="0"/>
              </a:rPr>
              <a:t>cement, aggregates, and </a:t>
            </a:r>
            <a:br>
              <a:rPr lang="de-DE" sz="1600" b="1" dirty="0">
                <a:solidFill>
                  <a:schemeClr val="bg1"/>
                </a:solidFill>
                <a:latin typeface="+mj-lt"/>
                <a:cs typeface="Calibri" panose="020F0502020204030204" pitchFamily="34" charset="0"/>
              </a:rPr>
            </a:br>
            <a:r>
              <a:rPr lang="de-DE" sz="1600" b="1" dirty="0">
                <a:solidFill>
                  <a:schemeClr val="bg1"/>
                </a:solidFill>
                <a:latin typeface="+mj-lt"/>
                <a:cs typeface="Calibri" panose="020F0502020204030204" pitchFamily="34" charset="0"/>
              </a:rPr>
              <a:t>ready-mixed concrete</a:t>
            </a:r>
          </a:p>
          <a:p>
            <a:pPr algn="ctr"/>
            <a:endParaRPr lang="de-DE" sz="1600" b="1" dirty="0">
              <a:solidFill>
                <a:schemeClr val="bg1"/>
              </a:solidFill>
              <a:latin typeface="+mj-lt"/>
              <a:cs typeface="Calibri" panose="020F0502020204030204" pitchFamily="34" charset="0"/>
            </a:endParaRPr>
          </a:p>
          <a:p>
            <a:pPr algn="ctr"/>
            <a:r>
              <a:rPr lang="en-US" sz="1600" b="0" i="0" dirty="0">
                <a:solidFill>
                  <a:schemeClr val="bg1"/>
                </a:solidFill>
                <a:effectLst/>
              </a:rPr>
              <a:t>Heidelberg Materials is evolving our portfolio, products and services—providing the materials to build the future.</a:t>
            </a:r>
            <a:endParaRPr lang="de-DE" sz="1600" b="1" dirty="0">
              <a:solidFill>
                <a:schemeClr val="bg1"/>
              </a:solidFill>
              <a:latin typeface="+mj-lt"/>
              <a:cs typeface="Calibri" panose="020F0502020204030204" pitchFamily="34" charset="0"/>
            </a:endParaRPr>
          </a:p>
          <a:p>
            <a:pPr algn="ctr"/>
            <a:endParaRPr lang="de-DE" sz="1600" b="1" dirty="0">
              <a:solidFill>
                <a:schemeClr val="bg1"/>
              </a:solidFill>
              <a:latin typeface="+mj-lt"/>
              <a:cs typeface="Calibri" panose="020F0502020204030204" pitchFamily="34" charset="0"/>
            </a:endParaRPr>
          </a:p>
        </p:txBody>
      </p:sp>
      <p:grpSp>
        <p:nvGrpSpPr>
          <p:cNvPr id="17" name="Group 40">
            <a:extLst>
              <a:ext uri="{FF2B5EF4-FFF2-40B4-BE49-F238E27FC236}">
                <a16:creationId xmlns:a16="http://schemas.microsoft.com/office/drawing/2014/main" id="{9EFC95BC-E3B0-9C42-A4B1-0D0D25F3F710}"/>
              </a:ext>
            </a:extLst>
          </p:cNvPr>
          <p:cNvGrpSpPr/>
          <p:nvPr/>
        </p:nvGrpSpPr>
        <p:grpSpPr>
          <a:xfrm>
            <a:off x="5443778" y="1606526"/>
            <a:ext cx="1304444" cy="1318444"/>
            <a:chOff x="6185695" y="1908570"/>
            <a:chExt cx="777428" cy="785772"/>
          </a:xfrm>
        </p:grpSpPr>
        <p:pic>
          <p:nvPicPr>
            <p:cNvPr id="18" name="Graphic 27">
              <a:extLst>
                <a:ext uri="{FF2B5EF4-FFF2-40B4-BE49-F238E27FC236}">
                  <a16:creationId xmlns:a16="http://schemas.microsoft.com/office/drawing/2014/main" id="{502CC00C-895E-844D-9D4C-D2DE8E16D7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9755" y="1918444"/>
              <a:ext cx="602190" cy="775898"/>
            </a:xfrm>
            <a:prstGeom prst="rect">
              <a:avLst/>
            </a:prstGeom>
          </p:spPr>
        </p:pic>
        <p:sp>
          <p:nvSpPr>
            <p:cNvPr id="19" name="Freihandform: Form 86">
              <a:extLst>
                <a:ext uri="{FF2B5EF4-FFF2-40B4-BE49-F238E27FC236}">
                  <a16:creationId xmlns:a16="http://schemas.microsoft.com/office/drawing/2014/main" id="{F9489F60-731F-6345-B57E-9E06494178EC}"/>
                </a:ext>
              </a:extLst>
            </p:cNvPr>
            <p:cNvSpPr/>
            <p:nvPr/>
          </p:nvSpPr>
          <p:spPr>
            <a:xfrm rot="16200000">
              <a:off x="6185695" y="1908570"/>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algn="ctr"/>
              <a:endParaRPr lang="de-DE"/>
            </a:p>
          </p:txBody>
        </p:sp>
      </p:grpSp>
      <p:grpSp>
        <p:nvGrpSpPr>
          <p:cNvPr id="20" name="Group 20">
            <a:extLst>
              <a:ext uri="{FF2B5EF4-FFF2-40B4-BE49-F238E27FC236}">
                <a16:creationId xmlns:a16="http://schemas.microsoft.com/office/drawing/2014/main" id="{33726D07-970A-6841-953F-A2D5B2D28440}"/>
              </a:ext>
            </a:extLst>
          </p:cNvPr>
          <p:cNvGrpSpPr/>
          <p:nvPr/>
        </p:nvGrpSpPr>
        <p:grpSpPr>
          <a:xfrm>
            <a:off x="1570277" y="1756734"/>
            <a:ext cx="1318444" cy="1304444"/>
            <a:chOff x="2307085" y="1895922"/>
            <a:chExt cx="785772" cy="777428"/>
          </a:xfrm>
        </p:grpSpPr>
        <p:pic>
          <p:nvPicPr>
            <p:cNvPr id="21" name="Graphic 19">
              <a:extLst>
                <a:ext uri="{FF2B5EF4-FFF2-40B4-BE49-F238E27FC236}">
                  <a16:creationId xmlns:a16="http://schemas.microsoft.com/office/drawing/2014/main" id="{F517FF73-A272-334E-AE9E-04B094DE10F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16959" y="1989982"/>
              <a:ext cx="775898" cy="602190"/>
            </a:xfrm>
            <a:prstGeom prst="rect">
              <a:avLst/>
            </a:prstGeom>
          </p:spPr>
        </p:pic>
        <p:sp>
          <p:nvSpPr>
            <p:cNvPr id="22" name="Freihandform: Form 86">
              <a:extLst>
                <a:ext uri="{FF2B5EF4-FFF2-40B4-BE49-F238E27FC236}">
                  <a16:creationId xmlns:a16="http://schemas.microsoft.com/office/drawing/2014/main" id="{14A44053-53DE-DD45-A546-E6904F2D9800}"/>
                </a:ext>
              </a:extLst>
            </p:cNvPr>
            <p:cNvSpPr/>
            <p:nvPr/>
          </p:nvSpPr>
          <p:spPr>
            <a:xfrm rot="16200000">
              <a:off x="2307085" y="1895922"/>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algn="ctr"/>
              <a:endParaRPr lang="de-DE"/>
            </a:p>
          </p:txBody>
        </p:sp>
      </p:grpSp>
      <p:grpSp>
        <p:nvGrpSpPr>
          <p:cNvPr id="26" name="Group 75">
            <a:extLst>
              <a:ext uri="{FF2B5EF4-FFF2-40B4-BE49-F238E27FC236}">
                <a16:creationId xmlns:a16="http://schemas.microsoft.com/office/drawing/2014/main" id="{5944C70F-92C0-E64F-8731-28EC51274085}"/>
              </a:ext>
            </a:extLst>
          </p:cNvPr>
          <p:cNvGrpSpPr/>
          <p:nvPr/>
        </p:nvGrpSpPr>
        <p:grpSpPr>
          <a:xfrm>
            <a:off x="9306150" y="1806278"/>
            <a:ext cx="1331114" cy="1331114"/>
            <a:chOff x="11009719" y="1895922"/>
            <a:chExt cx="777428" cy="777428"/>
          </a:xfrm>
        </p:grpSpPr>
        <p:pic>
          <p:nvPicPr>
            <p:cNvPr id="27" name="Graphic 31">
              <a:extLst>
                <a:ext uri="{FF2B5EF4-FFF2-40B4-BE49-F238E27FC236}">
                  <a16:creationId xmlns:a16="http://schemas.microsoft.com/office/drawing/2014/main" id="{183F5C93-9C86-C542-8A93-B5262F92BB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36429" y="1922633"/>
              <a:ext cx="724007" cy="724007"/>
            </a:xfrm>
            <a:prstGeom prst="rect">
              <a:avLst/>
            </a:prstGeom>
          </p:spPr>
        </p:pic>
        <p:sp>
          <p:nvSpPr>
            <p:cNvPr id="28" name="Freihandform: Form 86">
              <a:extLst>
                <a:ext uri="{FF2B5EF4-FFF2-40B4-BE49-F238E27FC236}">
                  <a16:creationId xmlns:a16="http://schemas.microsoft.com/office/drawing/2014/main" id="{B517FACE-4CB1-E741-923A-37522618E314}"/>
                </a:ext>
              </a:extLst>
            </p:cNvPr>
            <p:cNvSpPr/>
            <p:nvPr/>
          </p:nvSpPr>
          <p:spPr>
            <a:xfrm rot="16200000">
              <a:off x="11009719" y="1895922"/>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5313245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5.58449077495815959793E+00&quot;&gt;&lt;m_msothmcolidx val=&quot;0&quot;/&gt;&lt;m_rgb r=&quot;FF&quot; g=&quot;64&quot; b=&quot;4C&quot;/&gt;&lt;/elem&gt;&lt;elem m_fUsage=&quot;2.69761123734998919943E+00&quot;&gt;&lt;m_msothmcolidx val=&quot;0&quot;/&gt;&lt;m_rgb r=&quot;00&quot; g=&quot;DD&quot; b=&quot;39&quot;/&gt;&lt;/elem&gt;&lt;elem m_fUsage=&quot;1.00000000000000000000E+00&quot;&gt;&lt;m_msothmcolidx val=&quot;0&quot;/&gt;&lt;m_rgb r=&quot;FF&quot; g=&quot;03&quot; b=&quot;6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idelbergMaterials PPT Template">
  <a:themeElements>
    <a:clrScheme name="Heidelberg">
      <a:dk1>
        <a:srgbClr val="3B3B3B"/>
      </a:dk1>
      <a:lt1>
        <a:sysClr val="window" lastClr="FFFFFF"/>
      </a:lt1>
      <a:dk2>
        <a:srgbClr val="004E2B"/>
      </a:dk2>
      <a:lt2>
        <a:srgbClr val="EEEEE6"/>
      </a:lt2>
      <a:accent1>
        <a:srgbClr val="004E2B"/>
      </a:accent1>
      <a:accent2>
        <a:srgbClr val="6BA795"/>
      </a:accent2>
      <a:accent3>
        <a:srgbClr val="00843D"/>
      </a:accent3>
      <a:accent4>
        <a:srgbClr val="53C29D"/>
      </a:accent4>
      <a:accent5>
        <a:srgbClr val="B1E2CE"/>
      </a:accent5>
      <a:accent6>
        <a:srgbClr val="D1EDE2"/>
      </a:accent6>
      <a:hlink>
        <a:srgbClr val="00843D"/>
      </a:hlink>
      <a:folHlink>
        <a:srgbClr val="53C29D"/>
      </a:folHlink>
    </a:clrScheme>
    <a:fontScheme name="Custom 5">
      <a:majorFont>
        <a:latin typeface="Lexend Exa HM"/>
        <a:ea typeface=""/>
        <a:cs typeface=""/>
      </a:majorFont>
      <a:minorFont>
        <a:latin typeface="Lexen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extLst>
          <a:ext uri="{909E8E84-426E-40DD-AFC4-6F175D3DCCD1}">
            <a14:hiddenFill xmlns:a14="http://schemas.microsoft.com/office/drawing/2010/main">
              <a:solidFill>
                <a:srgbClr val="FFFFFF"/>
              </a:solidFill>
            </a14:hiddenFill>
          </a:ext>
        </a:extLst>
      </a:spPr>
      <a:bodyPr vert="horz" wrap="square" lIns="0" tIns="0" rIns="0" bIns="0" rtlCol="0">
        <a:noAutofit/>
      </a:bodyPr>
      <a:lstStyle>
        <a:defPPr algn="l">
          <a:defRPr dirty="0" smtClean="0"/>
        </a:defPPr>
      </a:lstStyle>
    </a:txDef>
  </a:objectDefaults>
  <a:extraClrSchemeLst/>
  <a:custClrLst>
    <a:custClr name="Dark Grey (Plan)">
      <a:srgbClr val="3B3B3B"/>
    </a:custClr>
    <a:custClr name="Deep Green (Actual)">
      <a:srgbClr val="004E2B"/>
    </a:custClr>
    <a:custClr name="Mid Green (Actual)">
      <a:srgbClr val="00843D"/>
    </a:custClr>
    <a:custClr name="Bright Green (To Date)">
      <a:srgbClr val="00DD39"/>
    </a:custClr>
    <a:custClr name="Warm Orange (Forecast)">
      <a:srgbClr val="FF644C"/>
    </a:custClr>
    <a:custClr name="Vibrant Future">
      <a:srgbClr val="9F00FF"/>
    </a:custClr>
    <a:custClr name="Red Punch">
      <a:srgbClr val="FF0364"/>
    </a:custClr>
    <a:custClr name="Spark Yellow">
      <a:srgbClr val="F1FF53"/>
    </a:custClr>
    <a:custClr name="White">
      <a:srgbClr val="FFFFFF"/>
    </a:custClr>
    <a:custClr name="White">
      <a:srgbClr val="FFFFFF"/>
    </a:custClr>
    <a:custClr name="Dark Grey 50% (Plan)">
      <a:srgbClr val="9D9D9D"/>
    </a:custClr>
    <a:custClr name="Deep Green 50% (Actual)">
      <a:srgbClr val="80A695"/>
    </a:custClr>
    <a:custClr name="Mid Green 50% (Actual) ">
      <a:srgbClr val="80C19E"/>
    </a:custClr>
    <a:custClr name="Bright Green 50% (To Date)">
      <a:srgbClr val="80EE9C"/>
    </a:custClr>
    <a:custClr name="Warm Orange 50% (Forecast)">
      <a:srgbClr val="FFB1A6"/>
    </a:custClr>
    <a:custClr name="Vibrant Future 50%">
      <a:srgbClr val="C380FD"/>
    </a:custClr>
    <a:custClr name="Red Punch 50%">
      <a:srgbClr val="F284B0"/>
    </a:custClr>
    <a:custClr name="White">
      <a:srgbClr val="FFFFFF"/>
    </a:custClr>
    <a:custClr name="White">
      <a:srgbClr val="FFFFFF"/>
    </a:custClr>
    <a:custClr name="White">
      <a:srgbClr val="FFFFFF"/>
    </a:custClr>
    <a:custClr name="Dark Grey 25% (Plan)">
      <a:srgbClr val="CECECE"/>
    </a:custClr>
    <a:custClr name="Deep Green 25% (Actual)">
      <a:srgbClr val="BFD3CA"/>
    </a:custClr>
    <a:custClr name="Mid Green 25% (Actual)">
      <a:srgbClr val="BFE0CE"/>
    </a:custClr>
    <a:custClr name="Bright Green 25% (To Date)">
      <a:srgbClr val="BFF7CD"/>
    </a:custClr>
    <a:custClr name="Warm Orange 25% (Forecast)">
      <a:srgbClr val="FFD8D3"/>
    </a:custClr>
    <a:custClr name="Vibrant Future 25%">
      <a:srgbClr val="E1BFFE"/>
    </a:custClr>
    <a:custClr name="Red Punch 25%">
      <a:srgbClr val="F9C2D8"/>
    </a:custClr>
    <a:custClr name="White">
      <a:srgbClr val="FFFFFF"/>
    </a:custClr>
    <a:custClr name="White">
      <a:srgbClr val="FFFFFF"/>
    </a:custClr>
    <a:custClr name="White">
      <a:srgbClr val="FFFFFF"/>
    </a:custClr>
    <a:custClr name="Dark Grey 15% (Plan)">
      <a:srgbClr val="E2E2E2"/>
    </a:custClr>
    <a:custClr name="Deep Green 15% (Actual)">
      <a:srgbClr val="D9E4DF"/>
    </a:custClr>
    <a:custClr name="Mid Green 15% (Actual)">
      <a:srgbClr val="D9EDE2"/>
    </a:custClr>
    <a:custClr name="Bright Green 15% (To Date)">
      <a:srgbClr val="D9FAE1"/>
    </a:custClr>
    <a:custClr name="Warm Orange 15% (Forecast)">
      <a:srgbClr val="FFE8E4"/>
    </a:custClr>
    <a:custClr name="Vibrant Future 15%">
      <a:srgbClr val="EDD9FF"/>
    </a:custClr>
    <a:custClr name="Red Punch 15%">
      <a:srgbClr val="FBDAE7"/>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21019_HM_Master_PowerPoint_EN_V4" id="{A878340D-69D8-B24A-8781-FA84EA0D1D5B}" vid="{0211FC61-7CF2-A841-B3A3-54851D5AC361}"/>
    </a:ext>
  </a:extLst>
</a:theme>
</file>

<file path=ppt/theme/theme2.xml><?xml version="1.0" encoding="utf-8"?>
<a:theme xmlns:a="http://schemas.openxmlformats.org/drawingml/2006/main" name="Macmorris template">
  <a:themeElements>
    <a:clrScheme name="Custom 347">
      <a:dk1>
        <a:srgbClr val="00001A"/>
      </a:dk1>
      <a:lt1>
        <a:srgbClr val="FFFFFF"/>
      </a:lt1>
      <a:dk2>
        <a:srgbClr val="60707A"/>
      </a:dk2>
      <a:lt2>
        <a:srgbClr val="E8EDF1"/>
      </a:lt2>
      <a:accent1>
        <a:srgbClr val="A6D683"/>
      </a:accent1>
      <a:accent2>
        <a:srgbClr val="2CA388"/>
      </a:accent2>
      <a:accent3>
        <a:srgbClr val="106B6B"/>
      </a:accent3>
      <a:accent4>
        <a:srgbClr val="CFDCE6"/>
      </a:accent4>
      <a:accent5>
        <a:srgbClr val="9EB3C2"/>
      </a:accent5>
      <a:accent6>
        <a:srgbClr val="577C97"/>
      </a:accent6>
      <a:hlink>
        <a:srgbClr val="00001A"/>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U ppt template - updated 062222.potx  -  Read-Only" id="{DDB92AC9-EB17-430F-8B75-C6383CAF6983}" vid="{32246F96-ACE0-4774-8413-C67723247222}"/>
    </a:ext>
  </a:extLst>
</a:theme>
</file>

<file path=ppt/theme/theme3.xml><?xml version="1.0" encoding="utf-8"?>
<a:theme xmlns:a="http://schemas.openxmlformats.org/drawingml/2006/main" name="1_Macmorris template">
  <a:themeElements>
    <a:clrScheme name="Custom 347">
      <a:dk1>
        <a:srgbClr val="00001A"/>
      </a:dk1>
      <a:lt1>
        <a:srgbClr val="FFFFFF"/>
      </a:lt1>
      <a:dk2>
        <a:srgbClr val="60707A"/>
      </a:dk2>
      <a:lt2>
        <a:srgbClr val="E8EDF1"/>
      </a:lt2>
      <a:accent1>
        <a:srgbClr val="A6D683"/>
      </a:accent1>
      <a:accent2>
        <a:srgbClr val="2CA388"/>
      </a:accent2>
      <a:accent3>
        <a:srgbClr val="106B6B"/>
      </a:accent3>
      <a:accent4>
        <a:srgbClr val="CFDCE6"/>
      </a:accent4>
      <a:accent5>
        <a:srgbClr val="9EB3C2"/>
      </a:accent5>
      <a:accent6>
        <a:srgbClr val="577C97"/>
      </a:accent6>
      <a:hlink>
        <a:srgbClr val="00001A"/>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U ppt template - updated 062222.potx" id="{3B53351F-2D45-4FCC-9B5C-AB78E687DD3B}" vid="{4E61E0BD-4DE3-4B37-8E27-7B9DBB6FD7F3}"/>
    </a:ext>
  </a:extLst>
</a:theme>
</file>

<file path=ppt/theme/theme4.xml><?xml version="1.0" encoding="utf-8"?>
<a:theme xmlns:a="http://schemas.openxmlformats.org/drawingml/2006/main" name="Office">
  <a:themeElements>
    <a:clrScheme name="Heidelberg">
      <a:dk1>
        <a:srgbClr val="3B3B3B"/>
      </a:dk1>
      <a:lt1>
        <a:sysClr val="window" lastClr="FFFFFF"/>
      </a:lt1>
      <a:dk2>
        <a:srgbClr val="004E2B"/>
      </a:dk2>
      <a:lt2>
        <a:srgbClr val="EEEEE6"/>
      </a:lt2>
      <a:accent1>
        <a:srgbClr val="004E2B"/>
      </a:accent1>
      <a:accent2>
        <a:srgbClr val="6BA795"/>
      </a:accent2>
      <a:accent3>
        <a:srgbClr val="00843D"/>
      </a:accent3>
      <a:accent4>
        <a:srgbClr val="53C29D"/>
      </a:accent4>
      <a:accent5>
        <a:srgbClr val="B1E2CE"/>
      </a:accent5>
      <a:accent6>
        <a:srgbClr val="D1EDE2"/>
      </a:accent6>
      <a:hlink>
        <a:srgbClr val="00843D"/>
      </a:hlink>
      <a:folHlink>
        <a:srgbClr val="53C29D"/>
      </a:folHlink>
    </a:clrScheme>
    <a:fontScheme name="Benutzerdefiniert 4">
      <a:majorFont>
        <a:latin typeface="Lexend Exa HM"/>
        <a:ea typeface=""/>
        <a:cs typeface=""/>
      </a:majorFont>
      <a:minorFont>
        <a:latin typeface="Lexen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Heidelberg">
      <a:dk1>
        <a:srgbClr val="3B3B3B"/>
      </a:dk1>
      <a:lt1>
        <a:sysClr val="window" lastClr="FFFFFF"/>
      </a:lt1>
      <a:dk2>
        <a:srgbClr val="004E2B"/>
      </a:dk2>
      <a:lt2>
        <a:srgbClr val="EEEEE6"/>
      </a:lt2>
      <a:accent1>
        <a:srgbClr val="004E2B"/>
      </a:accent1>
      <a:accent2>
        <a:srgbClr val="6BA795"/>
      </a:accent2>
      <a:accent3>
        <a:srgbClr val="00843D"/>
      </a:accent3>
      <a:accent4>
        <a:srgbClr val="53C29D"/>
      </a:accent4>
      <a:accent5>
        <a:srgbClr val="B1E2CE"/>
      </a:accent5>
      <a:accent6>
        <a:srgbClr val="D1EDE2"/>
      </a:accent6>
      <a:hlink>
        <a:srgbClr val="00843D"/>
      </a:hlink>
      <a:folHlink>
        <a:srgbClr val="53C29D"/>
      </a:folHlink>
    </a:clrScheme>
    <a:fontScheme name="Benutzerdefiniert 4">
      <a:majorFont>
        <a:latin typeface="Lexend Exa HM"/>
        <a:ea typeface=""/>
        <a:cs typeface=""/>
      </a:majorFont>
      <a:minorFont>
        <a:latin typeface="Lexen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18BC61A92C654C9A5A3F64F4A8827C" ma:contentTypeVersion="15" ma:contentTypeDescription="Create a new document." ma:contentTypeScope="" ma:versionID="68d2917fb7ed397fa1e5cac80c1256ba">
  <xsd:schema xmlns:xsd="http://www.w3.org/2001/XMLSchema" xmlns:xs="http://www.w3.org/2001/XMLSchema" xmlns:p="http://schemas.microsoft.com/office/2006/metadata/properties" xmlns:ns2="4afed4bf-a175-4c67-8803-c58f62288c5a" xmlns:ns3="43c13ff9-004e-48ef-9e15-c7a8e88d5969" targetNamespace="http://schemas.microsoft.com/office/2006/metadata/properties" ma:root="true" ma:fieldsID="8de1801ff906bde2456ea31106b1acc7" ns2:_="" ns3:_="">
    <xsd:import namespace="4afed4bf-a175-4c67-8803-c58f62288c5a"/>
    <xsd:import namespace="43c13ff9-004e-48ef-9e15-c7a8e88d596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fed4bf-a175-4c67-8803-c58f62288c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d37e248a-833c-4064-8741-97d52dfc7677"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c13ff9-004e-48ef-9e15-c7a8e88d596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0fae3cb-79cf-4001-8aea-e4cbd1d55dcb}" ma:internalName="TaxCatchAll" ma:showField="CatchAllData" ma:web="43c13ff9-004e-48ef-9e15-c7a8e88d59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3c13ff9-004e-48ef-9e15-c7a8e88d5969" xsi:nil="true"/>
    <lcf76f155ced4ddcb4097134ff3c332f xmlns="4afed4bf-a175-4c67-8803-c58f62288c5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8AE996B-80B2-486B-8DC2-4F6004DADD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fed4bf-a175-4c67-8803-c58f62288c5a"/>
    <ds:schemaRef ds:uri="43c13ff9-004e-48ef-9e15-c7a8e88d59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5C7CF9-47C3-4577-8B6E-0AAAC32597EC}">
  <ds:schemaRefs>
    <ds:schemaRef ds:uri="http://schemas.microsoft.com/sharepoint/v3/contenttype/forms"/>
  </ds:schemaRefs>
</ds:datastoreItem>
</file>

<file path=customXml/itemProps3.xml><?xml version="1.0" encoding="utf-8"?>
<ds:datastoreItem xmlns:ds="http://schemas.openxmlformats.org/officeDocument/2006/customXml" ds:itemID="{50481F65-4FA1-448E-9160-3DBBF73BE483}">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43c13ff9-004e-48ef-9e15-c7a8e88d5969"/>
    <ds:schemaRef ds:uri="4afed4bf-a175-4c67-8803-c58f62288c5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426</TotalTime>
  <Words>1043</Words>
  <Application>Microsoft Office PowerPoint</Application>
  <PresentationFormat>Widescreen</PresentationFormat>
  <Paragraphs>126</Paragraphs>
  <Slides>19</Slides>
  <Notes>12</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5" baseType="lpstr">
      <vt:lpstr>Lexend Exa HM</vt:lpstr>
      <vt:lpstr>Franklin Gothic Medium</vt:lpstr>
      <vt:lpstr>Roboto Slab</vt:lpstr>
      <vt:lpstr>Arial</vt:lpstr>
      <vt:lpstr>Chivo</vt:lpstr>
      <vt:lpstr>Lexend Light</vt:lpstr>
      <vt:lpstr>Lexend Exa HM ExtraLight</vt:lpstr>
      <vt:lpstr>Lexend BD</vt:lpstr>
      <vt:lpstr>Calibri</vt:lpstr>
      <vt:lpstr>Wingdings</vt:lpstr>
      <vt:lpstr>Lexend</vt:lpstr>
      <vt:lpstr>HeidelbergMaterials PPT Template</vt:lpstr>
      <vt:lpstr>Macmorris template</vt:lpstr>
      <vt:lpstr>1_Macmorris template</vt:lpstr>
      <vt:lpstr>think-cell Folie</vt:lpstr>
      <vt:lpstr>think-cell Slide</vt:lpstr>
      <vt:lpstr> Heidelberg Materials   Is there a pathway to “Net Zero Concrete” ?</vt:lpstr>
      <vt:lpstr>Presentation Notes</vt:lpstr>
      <vt:lpstr>Disclaimer</vt:lpstr>
      <vt:lpstr>Presentation Overview</vt:lpstr>
      <vt:lpstr>Today’s Speaker</vt:lpstr>
      <vt:lpstr>Agenda</vt:lpstr>
      <vt:lpstr>Learning Objectives</vt:lpstr>
      <vt:lpstr>PowerPoint Presentation</vt:lpstr>
      <vt:lpstr>Heidelberg Materials North America </vt:lpstr>
      <vt:lpstr>Our geographic footprint </vt:lpstr>
      <vt:lpstr>Heidelberg Materials global concrete promises</vt:lpstr>
      <vt:lpstr>Heidelberg Materials’ Roadmap to Net Zero Concrete –  Multidimensional Approach</vt:lpstr>
      <vt:lpstr>Path to carbon free cement:  Carbon Capture Utilization Storage (CCUS) Edmonton, AB</vt:lpstr>
      <vt:lpstr>Process Overview</vt:lpstr>
      <vt:lpstr>PowerPoint Presentation</vt:lpstr>
      <vt:lpstr>Growing demand for lower carbon construction materials </vt:lpstr>
      <vt:lpstr>  What needs to change for us to accelerate new clean technology to finish line?</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idelberg Materials PowerPoint Master</dc:title>
  <dc:creator>Massey, Emily E (Irving) USA</dc:creator>
  <cp:lastModifiedBy>Kari A. Moosmann</cp:lastModifiedBy>
  <cp:revision>56</cp:revision>
  <dcterms:created xsi:type="dcterms:W3CDTF">2022-10-21T19:45:17Z</dcterms:created>
  <dcterms:modified xsi:type="dcterms:W3CDTF">2023-05-21T21:5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18BC61A92C654C9A5A3F64F4A8827C</vt:lpwstr>
  </property>
  <property fmtid="{D5CDD505-2E9C-101B-9397-08002B2CF9AE}" pid="3" name="HC_HiddenCountry">
    <vt:lpwstr>1;#USA|1c60cbfa-cc6c-4424-9437-cb41e47d69f8</vt:lpwstr>
  </property>
  <property fmtid="{D5CDD505-2E9C-101B-9397-08002B2CF9AE}" pid="4" name="HC_Topic">
    <vt:lpwstr>2;#Communication|7c9a4810-ebd5-4c09-817e-aafb74b669b2;#15;#Marketing|28bd7d4a-0a83-4ea9-b04b-8e229c5591ae</vt:lpwstr>
  </property>
  <property fmtid="{D5CDD505-2E9C-101B-9397-08002B2CF9AE}" pid="5" name="HC_Companies">
    <vt:lpwstr>3;#All companies|4a20633d-57b1-4695-845d-1db609a88b16</vt:lpwstr>
  </property>
  <property fmtid="{D5CDD505-2E9C-101B-9397-08002B2CF9AE}" pid="6" name="MediaServiceImageTags">
    <vt:lpwstr/>
  </property>
  <property fmtid="{D5CDD505-2E9C-101B-9397-08002B2CF9AE}" pid="7" name="HC_Departments">
    <vt:lpwstr>6;#Communications ＆ Public Affairs|d57a18d8-7716-41ed-ac52-32e5dd36e61d</vt:lpwstr>
  </property>
  <property fmtid="{D5CDD505-2E9C-101B-9397-08002B2CF9AE}" pid="8" name="HC_Document_Type">
    <vt:lpwstr>38;#Template|1097b809-d98a-4a15-b961-8455e55c3484</vt:lpwstr>
  </property>
  <property fmtid="{D5CDD505-2E9C-101B-9397-08002B2CF9AE}" pid="9" name="HC_Locations">
    <vt:lpwstr>8;#All locations|3d1b2e00-e21f-4ddf-8fe4-c6ee900fa2ad</vt:lpwstr>
  </property>
</Properties>
</file>